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2" r:id="rId2"/>
    <p:sldMasterId id="2147483694" r:id="rId3"/>
  </p:sldMasterIdLst>
  <p:notesMasterIdLst>
    <p:notesMasterId r:id="rId38"/>
  </p:notesMasterIdLst>
  <p:sldIdLst>
    <p:sldId id="7421" r:id="rId4"/>
    <p:sldId id="2147373881" r:id="rId5"/>
    <p:sldId id="2147373818" r:id="rId6"/>
    <p:sldId id="2147373808" r:id="rId7"/>
    <p:sldId id="2147373821" r:id="rId8"/>
    <p:sldId id="2147373822" r:id="rId9"/>
    <p:sldId id="2147373891" r:id="rId10"/>
    <p:sldId id="2147373817" r:id="rId11"/>
    <p:sldId id="2147373810" r:id="rId12"/>
    <p:sldId id="2147373872" r:id="rId13"/>
    <p:sldId id="2147373875" r:id="rId14"/>
    <p:sldId id="2147373876" r:id="rId15"/>
    <p:sldId id="2147373877" r:id="rId16"/>
    <p:sldId id="2147373883" r:id="rId17"/>
    <p:sldId id="571" r:id="rId18"/>
    <p:sldId id="2147373894" r:id="rId19"/>
    <p:sldId id="7464" r:id="rId20"/>
    <p:sldId id="7465" r:id="rId21"/>
    <p:sldId id="7466" r:id="rId22"/>
    <p:sldId id="7452" r:id="rId23"/>
    <p:sldId id="2147373884" r:id="rId24"/>
    <p:sldId id="2147373885" r:id="rId25"/>
    <p:sldId id="2147373813" r:id="rId26"/>
    <p:sldId id="2147373777" r:id="rId27"/>
    <p:sldId id="884" r:id="rId28"/>
    <p:sldId id="886" r:id="rId29"/>
    <p:sldId id="2147373889" r:id="rId30"/>
    <p:sldId id="7446" r:id="rId31"/>
    <p:sldId id="2147373886" r:id="rId32"/>
    <p:sldId id="2147373794" r:id="rId33"/>
    <p:sldId id="2147373887" r:id="rId34"/>
    <p:sldId id="2147373892" r:id="rId35"/>
    <p:sldId id="2147373893" r:id="rId36"/>
    <p:sldId id="2147373798" r:id="rId3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6720" userDrawn="1">
          <p15:clr>
            <a:srgbClr val="A4A3A4"/>
          </p15:clr>
        </p15:guide>
        <p15:guide id="4" pos="52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E79"/>
    <a:srgbClr val="FF2600"/>
    <a:srgbClr val="76D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467"/>
    <p:restoredTop sz="80658"/>
  </p:normalViewPr>
  <p:slideViewPr>
    <p:cSldViewPr snapToGrid="0" snapToObjects="1" showGuides="1">
      <p:cViewPr varScale="1">
        <p:scale>
          <a:sx n="101" d="100"/>
          <a:sy n="101" d="100"/>
        </p:scale>
        <p:origin x="840" y="192"/>
      </p:cViewPr>
      <p:guideLst>
        <p:guide orient="horz" pos="1117"/>
        <p:guide pos="6720"/>
        <p:guide pos="5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presProps" Target="pres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91C7F3-C1C3-4E47-A480-175C64253194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EE7FB6-DF3E-D841-AB24-5CEDE6901D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24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дставить себя </a:t>
            </a:r>
            <a:r>
              <a:rPr lang="ru-RU"/>
              <a:t>и тему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93123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5334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гда мы не устойчивы, организм считывает ситуацию, как опасную, и запускает стрессовый отклик </a:t>
            </a:r>
          </a:p>
        </p:txBody>
      </p:sp>
    </p:spTree>
    <p:extLst>
      <p:ext uri="{BB962C8B-B14F-4D97-AF65-F5344CB8AC3E}">
        <p14:creationId xmlns:p14="http://schemas.microsoft.com/office/powerpoint/2010/main" val="26635814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5948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107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ртинка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7183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юди часто беспокоятся по поводу того, на что они не могут повлиять – например, погода, политика, экономика, другие отделы/люди на работе. Люди придают важность этим событиям, но в реальности сложно влиять на это и что-либо изменить. Все это определяет КРУГ ЗАБОТ. 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м следует фокусироваться на событиях в зоне нашего контроля и влияния; наши мысли, наши реакции, наши отношения, наш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йствия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наш выбор – все это определяет наш КРУГ ВЛИЯНИЯ. 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3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 items may be borderline – how can you increase your Circle of Influence….</a:t>
            </a:r>
            <a:endParaRPr lang="ru-RU" sz="3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>
              <a:effectLst/>
            </a:endParaRP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8997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6252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33208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27728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>
              <a:latin typeface="Calibri" charset="0"/>
            </a:endParaRPr>
          </a:p>
        </p:txBody>
      </p:sp>
      <p:sp>
        <p:nvSpPr>
          <p:cNvPr id="522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fld id="{A8BD51D0-CFB2-8D4E-B175-5A787AF47C4F}" type="slidenum">
              <a:rPr kumimoji="0" lang="ru-RU" sz="1200">
                <a:solidFill>
                  <a:srgbClr val="1F497D"/>
                </a:solidFill>
              </a:rPr>
              <a:pPr/>
              <a:t>25</a:t>
            </a:fld>
            <a:endParaRPr kumimoji="0" lang="ru-RU" sz="1200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нимание лидерства в контексте турбулентности вне занимаемой должности и вне социальных ролей </a:t>
            </a:r>
          </a:p>
          <a:p>
            <a:r>
              <a:rPr lang="ru-RU" dirty="0"/>
              <a:t>Лидер - любой человек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E7FB6-DF3E-D841-AB24-5CEDE6901DD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56601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1981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36" tIns="46569" rIns="93136" bIns="46569"/>
          <a:lstStyle/>
          <a:p>
            <a:pPr marL="457200" indent="-457200"/>
            <a:r>
              <a:rPr lang="ru-RU">
                <a:latin typeface="Arial" charset="0"/>
              </a:rPr>
              <a:t>В противоположность методике «Слушать, чтобы узнать», люди часто занимаются Реактивным слушанием.</a:t>
            </a:r>
            <a:endParaRPr lang="en-US">
              <a:latin typeface="Arial" charset="0"/>
            </a:endParaRPr>
          </a:p>
          <a:p>
            <a:pPr marL="457200" indent="-457200"/>
            <a:r>
              <a:rPr lang="ru-RU">
                <a:latin typeface="Arial" charset="0"/>
              </a:rPr>
              <a:t>СКАЖИТЕ</a:t>
            </a:r>
            <a:r>
              <a:rPr lang="en-US">
                <a:latin typeface="Arial" charset="0"/>
              </a:rPr>
              <a:t>:	</a:t>
            </a:r>
            <a:r>
              <a:rPr lang="ru-RU">
                <a:latin typeface="Arial" charset="0"/>
              </a:rPr>
              <a:t>На слайде примеры реактивного слушания : (см. слайд) </a:t>
            </a:r>
            <a:endParaRPr lang="en-US">
              <a:latin typeface="Arial" charset="0"/>
            </a:endParaRPr>
          </a:p>
          <a:p>
            <a:pPr marL="457200" indent="-457200"/>
            <a:r>
              <a:rPr lang="ru-RU">
                <a:latin typeface="Arial" charset="0"/>
              </a:rPr>
              <a:t>Т.е. Во время реактивного слушания люди на самом деле не слышат, что было сказано.</a:t>
            </a:r>
            <a:r>
              <a:rPr lang="en-US">
                <a:latin typeface="Arial" charset="0"/>
              </a:rPr>
              <a:t> </a:t>
            </a:r>
            <a:r>
              <a:rPr lang="ru-RU">
                <a:latin typeface="Arial" charset="0"/>
              </a:rPr>
              <a:t>Они вместо этого думают о том, что они хотят сказать в ответ.</a:t>
            </a:r>
            <a:endParaRPr lang="en-US">
              <a:latin typeface="Arial" charset="0"/>
            </a:endParaRPr>
          </a:p>
          <a:p>
            <a:pPr marL="742950" lvl="1" indent="-171450">
              <a:buFontTx/>
              <a:buChar char="•"/>
            </a:pPr>
            <a:r>
              <a:rPr lang="ru-RU">
                <a:latin typeface="Arial" charset="0"/>
              </a:rPr>
              <a:t>Они как будто фехтовальщики, ищут благоприятные возможности или слабые места в аргументе другого человека, чтобы набрать очки.</a:t>
            </a:r>
            <a:endParaRPr lang="en-US">
              <a:latin typeface="Arial" charset="0"/>
            </a:endParaRPr>
          </a:p>
          <a:p>
            <a:pPr marL="742950" lvl="1" indent="-171450">
              <a:buFontTx/>
              <a:buChar char="•"/>
            </a:pPr>
            <a:r>
              <a:rPr lang="ru-RU">
                <a:latin typeface="Arial" charset="0"/>
              </a:rPr>
              <a:t>Во время реактивного слушания мы, как и фехтовальщик, как раз ожидаем благоприятной возможности, которая позволит вам продолжить наше дело.</a:t>
            </a:r>
            <a:endParaRPr lang="en-US">
              <a:latin typeface="Arial" charset="0"/>
            </a:endParaRPr>
          </a:p>
          <a:p>
            <a:pPr marL="742950" lvl="1" indent="-171450">
              <a:buFontTx/>
              <a:buChar char="•"/>
            </a:pPr>
            <a:r>
              <a:rPr lang="ru-RU">
                <a:latin typeface="Arial" charset="0"/>
              </a:rPr>
              <a:t>Мы часто делаем мысленные комментарии о том, что было сказано, в то время как другой человек говорит.</a:t>
            </a:r>
            <a:endParaRPr lang="en-US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344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ртинка про яркое пятно – образ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2903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вайте проверим, где ваша команда на кривой. Для этого используем критерии и индикаторы – сделаем упражнение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5680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4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ситуации турбулентности мы не чувствуем себя в безопасности, порой нам страшно. Появляется ощущение беспомощности. Важно обрести силу через через</a:t>
            </a:r>
          </a:p>
          <a:p>
            <a:pPr marL="171450" indent="-171450">
              <a:buFontTx/>
              <a:buChar char="-"/>
            </a:pPr>
            <a:r>
              <a:rPr lang="ru-RU" dirty="0"/>
              <a:t>Осознание собственной значимости </a:t>
            </a:r>
          </a:p>
          <a:p>
            <a:pPr marL="171450" indent="-171450">
              <a:buFontTx/>
              <a:buChar char="-"/>
            </a:pPr>
            <a:r>
              <a:rPr lang="ru-RU" dirty="0"/>
              <a:t>Формирование здорового восприятия происходящих событий </a:t>
            </a:r>
          </a:p>
          <a:p>
            <a:pPr marL="171450" indent="-171450">
              <a:buFontTx/>
              <a:buChar char="-"/>
            </a:pPr>
            <a:r>
              <a:rPr lang="ru-RU" dirty="0"/>
              <a:t>Вернуть ясность и контроль над ситуацией </a:t>
            </a:r>
          </a:p>
          <a:p>
            <a:pPr marL="171450" indent="-171450">
              <a:buFontTx/>
              <a:buChar char="-"/>
            </a:pPr>
            <a:r>
              <a:rPr lang="ru-RU" dirty="0"/>
              <a:t>Поддерживать доверительные отношения с людьми </a:t>
            </a:r>
          </a:p>
          <a:p>
            <a:pPr marL="0" indent="0">
              <a:buFontTx/>
              <a:buNone/>
            </a:pPr>
            <a:endParaRPr lang="ru-RU" dirty="0"/>
          </a:p>
          <a:p>
            <a:pPr marL="0" indent="0">
              <a:buFontTx/>
              <a:buNone/>
            </a:pPr>
            <a:r>
              <a:rPr lang="ru-RU" dirty="0"/>
              <a:t>Эффект бабочки – сила созидания человека. Сама по себе турбулентность разрушительна </a:t>
            </a:r>
          </a:p>
          <a:p>
            <a:pPr marL="0" indent="0">
              <a:buFontTx/>
              <a:buNone/>
            </a:pPr>
            <a:endParaRPr lang="ru-RU" dirty="0"/>
          </a:p>
          <a:p>
            <a:pPr marL="0" indent="0">
              <a:buFontTx/>
              <a:buNone/>
            </a:pPr>
            <a:endParaRPr lang="ru-RU" dirty="0"/>
          </a:p>
          <a:p>
            <a:pPr marL="171450" indent="-171450">
              <a:buFontTx/>
              <a:buChar char="-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E7FB6-DF3E-D841-AB24-5CEDE6901DD7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736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ru-RU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гда самолет проходит через них с очень большой скоростью, в салоне создается вибрация, которая и вызывает неприятные ощущения.</a:t>
            </a:r>
            <a:r>
              <a:rPr lang="ru-RU" sz="1100" dirty="0">
                <a:effectLst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я взята с сайта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осАвиации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246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ча человека, который занимает лидерскую позицию, - жить с турбулентностью, возвращать потребность в ясности и контроле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656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ча человека, который занимает лидерскую позицию, - жить с турбулентностью, возвращать потребность в ясности и контроле 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1971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асштаб: ваша семья, ваш коллектив, ваш город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ажно, с каким определением вы войдете в сегодняшний разговор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фиксируйте его для себя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1350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723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EE7FB6-DF3E-D841-AB24-5CEDE6901DD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0983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C3FD36-0548-2D48-A571-0BE84EDF6A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6A657F2-F4EB-2348-8FA8-810AEE82CD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FEA81A-A9E1-8349-B246-2FC1C788E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7077DD-82EF-AF4C-B9D8-1C715F972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FB5FFF6-EBF0-274C-A18E-744BC024F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4574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6D07718-E960-D646-B682-F94C17787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98EA0EA-591B-BA46-8DC0-80FCF64F7C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014796E-F8D1-8E49-B8EC-52D8C90D7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42D303-BB8C-7745-BB1E-AACEE3CB0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C41AF6-127A-B641-9738-54E5E5E5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395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A68ECAF4-6AB9-1B48-A606-23D17FC450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2E9FE3D-C391-E449-B32F-0042E87143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8690D55-0092-4E49-BB90-234466F11E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937E395-6DF4-184E-94E6-1CF77F4AA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295368C-9DF2-4240-88A0-1195EBF98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4820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621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3504" y="2419713"/>
            <a:ext cx="9724997" cy="2436875"/>
          </a:xfrm>
        </p:spPr>
        <p:txBody>
          <a:bodyPr>
            <a:normAutofit/>
          </a:bodyPr>
          <a:lstStyle>
            <a:lvl1pPr marL="342900" indent="-342900">
              <a:buFont typeface="Wingdings" charset="2"/>
              <a:buChar char="§"/>
              <a:defRPr sz="2200"/>
            </a:lvl1pPr>
            <a:lvl2pPr marL="800100" indent="-342900">
              <a:buFont typeface="Wingdings" charset="2"/>
              <a:buChar char="§"/>
              <a:defRPr sz="2200"/>
            </a:lvl2pPr>
            <a:lvl3pPr marL="1143000" indent="-228600">
              <a:buFont typeface="Wingdings" charset="2"/>
              <a:buChar char="§"/>
              <a:defRPr sz="2200"/>
            </a:lvl3pPr>
            <a:lvl4pPr marL="1600200" indent="-228600">
              <a:buFont typeface="Wingdings" charset="2"/>
              <a:buChar char="§"/>
              <a:defRPr sz="2200"/>
            </a:lvl4pPr>
            <a:lvl5pPr marL="2057400" indent="-228600">
              <a:buFont typeface="Wingdings" charset="2"/>
              <a:buChar char="§"/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233503" y="265998"/>
            <a:ext cx="9724996" cy="1613142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3714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2" y="0"/>
            <a:ext cx="9092975" cy="6858000"/>
          </a:xfrm>
          <a:custGeom>
            <a:avLst/>
            <a:gdLst>
              <a:gd name="T0" fmla="*/ 1668 w 2429"/>
              <a:gd name="T1" fmla="*/ 1839 h 1839"/>
              <a:gd name="T2" fmla="*/ 2237 w 2429"/>
              <a:gd name="T3" fmla="*/ 1244 h 1839"/>
              <a:gd name="T4" fmla="*/ 2320 w 2429"/>
              <a:gd name="T5" fmla="*/ 629 h 1839"/>
              <a:gd name="T6" fmla="*/ 1983 w 2429"/>
              <a:gd name="T7" fmla="*/ 0 h 1839"/>
              <a:gd name="T8" fmla="*/ 0 w 2429"/>
              <a:gd name="T9" fmla="*/ 0 h 1839"/>
              <a:gd name="T10" fmla="*/ 0 w 2429"/>
              <a:gd name="T11" fmla="*/ 1839 h 1839"/>
              <a:gd name="T12" fmla="*/ 1668 w 2429"/>
              <a:gd name="T13" fmla="*/ 1839 h 1839"/>
              <a:gd name="T14" fmla="*/ 1668 w 2429"/>
              <a:gd name="T15" fmla="*/ 1839 h 1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29" h="1839">
                <a:moveTo>
                  <a:pt x="1668" y="1839"/>
                </a:moveTo>
                <a:cubicBezTo>
                  <a:pt x="2237" y="1244"/>
                  <a:pt x="2237" y="1244"/>
                  <a:pt x="2237" y="1244"/>
                </a:cubicBezTo>
                <a:cubicBezTo>
                  <a:pt x="2395" y="1078"/>
                  <a:pt x="2429" y="831"/>
                  <a:pt x="2320" y="629"/>
                </a:cubicBezTo>
                <a:cubicBezTo>
                  <a:pt x="1983" y="0"/>
                  <a:pt x="1983" y="0"/>
                  <a:pt x="19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6"/>
                  <a:pt x="0" y="1839"/>
                  <a:pt x="0" y="1839"/>
                </a:cubicBezTo>
                <a:cubicBezTo>
                  <a:pt x="1668" y="1839"/>
                  <a:pt x="1668" y="1839"/>
                  <a:pt x="1668" y="1839"/>
                </a:cubicBezTo>
                <a:cubicBezTo>
                  <a:pt x="1668" y="1839"/>
                  <a:pt x="1668" y="1839"/>
                  <a:pt x="1668" y="1839"/>
                </a:cubicBezTo>
                <a:close/>
              </a:path>
            </a:pathLst>
          </a:custGeom>
          <a:gradFill flip="none" rotWithShape="1">
            <a:gsLst>
              <a:gs pos="0">
                <a:srgbClr val="ADE8BF"/>
              </a:gs>
              <a:gs pos="50000">
                <a:srgbClr val="009A44">
                  <a:lumMod val="100000"/>
                </a:srgbClr>
              </a:gs>
              <a:gs pos="100000">
                <a:srgbClr val="00843D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>
              <a:solidFill>
                <a:schemeClr val="lt1"/>
              </a:solidFill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692150" y="1921079"/>
            <a:ext cx="6790831" cy="151342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личное начало!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692149" y="3429001"/>
            <a:ext cx="4235211" cy="1069619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20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Хорошее продолжение.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7083" y="304802"/>
            <a:ext cx="2603268" cy="106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489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4" name="Freeform 13"/>
          <p:cNvSpPr/>
          <p:nvPr userDrawn="1"/>
        </p:nvSpPr>
        <p:spPr>
          <a:xfrm>
            <a:off x="1" y="2"/>
            <a:ext cx="10944667" cy="6858001"/>
          </a:xfrm>
          <a:custGeom>
            <a:avLst/>
            <a:gdLst>
              <a:gd name="connsiteX0" fmla="*/ 2666230 w 10944667"/>
              <a:gd name="connsiteY0" fmla="*/ 0 h 6858001"/>
              <a:gd name="connsiteX1" fmla="*/ 10944667 w 10944667"/>
              <a:gd name="connsiteY1" fmla="*/ 0 h 6858001"/>
              <a:gd name="connsiteX2" fmla="*/ 4086666 w 10944667"/>
              <a:gd name="connsiteY2" fmla="*/ 6858001 h 6858001"/>
              <a:gd name="connsiteX3" fmla="*/ 0 w 10944667"/>
              <a:gd name="connsiteY3" fmla="*/ 6858001 h 6858001"/>
              <a:gd name="connsiteX4" fmla="*/ 0 w 10944667"/>
              <a:gd name="connsiteY4" fmla="*/ 266623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4667" h="6858001">
                <a:moveTo>
                  <a:pt x="2666230" y="0"/>
                </a:moveTo>
                <a:lnTo>
                  <a:pt x="10944667" y="0"/>
                </a:lnTo>
                <a:lnTo>
                  <a:pt x="4086666" y="6858001"/>
                </a:lnTo>
                <a:lnTo>
                  <a:pt x="0" y="6858001"/>
                </a:lnTo>
                <a:lnTo>
                  <a:pt x="0" y="2666230"/>
                </a:lnTo>
                <a:close/>
              </a:path>
            </a:pathLst>
          </a:custGeom>
          <a:gradFill flip="none" rotWithShape="1">
            <a:gsLst>
              <a:gs pos="0">
                <a:srgbClr val="00843D"/>
              </a:gs>
              <a:gs pos="48000">
                <a:srgbClr val="009A44"/>
              </a:gs>
              <a:gs pos="100000">
                <a:srgbClr val="ADE8B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lt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573" y="5507422"/>
            <a:ext cx="2603268" cy="1063023"/>
          </a:xfrm>
          <a:prstGeom prst="rect">
            <a:avLst/>
          </a:prstGeom>
        </p:spPr>
      </p:pic>
      <p:sp>
        <p:nvSpPr>
          <p:cNvPr id="7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921079"/>
            <a:ext cx="6229171" cy="151342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личное начало!</a:t>
            </a:r>
          </a:p>
        </p:txBody>
      </p:sp>
      <p:sp>
        <p:nvSpPr>
          <p:cNvPr id="8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2" y="3429001"/>
            <a:ext cx="4089159" cy="1069619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20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Хорошее продолжение.</a:t>
            </a:r>
          </a:p>
        </p:txBody>
      </p:sp>
    </p:spTree>
    <p:extLst>
      <p:ext uri="{BB962C8B-B14F-4D97-AF65-F5344CB8AC3E}">
        <p14:creationId xmlns:p14="http://schemas.microsoft.com/office/powerpoint/2010/main" val="111245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65">
            <a:extLst>
              <a:ext uri="{FF2B5EF4-FFF2-40B4-BE49-F238E27FC236}">
                <a16:creationId xmlns:a16="http://schemas.microsoft.com/office/drawing/2014/main" id="{71DAF0CA-DEB0-4800-8C0B-AEFE32E1EDEB}"/>
              </a:ext>
            </a:extLst>
          </p:cNvPr>
          <p:cNvSpPr/>
          <p:nvPr userDrawn="1"/>
        </p:nvSpPr>
        <p:spPr>
          <a:xfrm flipH="1" flipV="1">
            <a:off x="4287509" y="2"/>
            <a:ext cx="7904491" cy="6157993"/>
          </a:xfrm>
          <a:prstGeom prst="rtTriangl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200"/>
          </a:p>
        </p:txBody>
      </p:sp>
      <p:sp>
        <p:nvSpPr>
          <p:cNvPr id="5" name="L-Shape 61">
            <a:extLst>
              <a:ext uri="{FF2B5EF4-FFF2-40B4-BE49-F238E27FC236}">
                <a16:creationId xmlns:a16="http://schemas.microsoft.com/office/drawing/2014/main" id="{F9C67B1A-94A2-4003-AA3C-7088642B1891}"/>
              </a:ext>
            </a:extLst>
          </p:cNvPr>
          <p:cNvSpPr/>
          <p:nvPr userDrawn="1"/>
        </p:nvSpPr>
        <p:spPr>
          <a:xfrm rot="10800000">
            <a:off x="11217553" y="144369"/>
            <a:ext cx="807899" cy="807899"/>
          </a:xfrm>
          <a:prstGeom prst="corner">
            <a:avLst>
              <a:gd name="adj1" fmla="val 23355"/>
              <a:gd name="adj2" fmla="val 23357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667" dirty="0"/>
          </a:p>
        </p:txBody>
      </p:sp>
      <p:sp>
        <p:nvSpPr>
          <p:cNvPr id="6" name="Right Triangle 70">
            <a:extLst>
              <a:ext uri="{FF2B5EF4-FFF2-40B4-BE49-F238E27FC236}">
                <a16:creationId xmlns:a16="http://schemas.microsoft.com/office/drawing/2014/main" id="{4FBD0F4C-642A-4AC7-8414-F962834814B4}"/>
              </a:ext>
            </a:extLst>
          </p:cNvPr>
          <p:cNvSpPr/>
          <p:nvPr userDrawn="1"/>
        </p:nvSpPr>
        <p:spPr>
          <a:xfrm rot="10800000" flipH="1" flipV="1">
            <a:off x="-17093" y="2925161"/>
            <a:ext cx="5772133" cy="3932835"/>
          </a:xfrm>
          <a:prstGeom prst="rtTriangl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20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" y="-9"/>
            <a:ext cx="12209092" cy="6858005"/>
            <a:chOff x="-17093" y="-5"/>
            <a:chExt cx="12209091" cy="6858005"/>
          </a:xfrm>
          <a:gradFill flip="none" rotWithShape="1">
            <a:gsLst>
              <a:gs pos="0">
                <a:srgbClr val="00843D"/>
              </a:gs>
              <a:gs pos="48000">
                <a:srgbClr val="009A44"/>
              </a:gs>
              <a:gs pos="100000">
                <a:srgbClr val="ADE8BF"/>
              </a:gs>
            </a:gsLst>
            <a:lin ang="13500000" scaled="1"/>
            <a:tileRect/>
          </a:gradFill>
        </p:grpSpPr>
        <p:sp>
          <p:nvSpPr>
            <p:cNvPr id="8" name="Right Triangle 20">
              <a:extLst>
                <a:ext uri="{FF2B5EF4-FFF2-40B4-BE49-F238E27FC236}">
                  <a16:creationId xmlns:a16="http://schemas.microsoft.com/office/drawing/2014/main" id="{FDCF1E8E-38F5-4985-A46C-E80882D2B3CE}"/>
                </a:ext>
              </a:extLst>
            </p:cNvPr>
            <p:cNvSpPr/>
            <p:nvPr userDrawn="1"/>
          </p:nvSpPr>
          <p:spPr>
            <a:xfrm flipH="1" flipV="1">
              <a:off x="3388963" y="-5"/>
              <a:ext cx="8803035" cy="6858005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9" name="Right Triangle 25">
              <a:extLst>
                <a:ext uri="{FF2B5EF4-FFF2-40B4-BE49-F238E27FC236}">
                  <a16:creationId xmlns:a16="http://schemas.microsoft.com/office/drawing/2014/main" id="{A33CAA8C-7074-4881-9A43-8EA2B21D2D78}"/>
                </a:ext>
              </a:extLst>
            </p:cNvPr>
            <p:cNvSpPr/>
            <p:nvPr userDrawn="1"/>
          </p:nvSpPr>
          <p:spPr>
            <a:xfrm flipH="1" flipV="1">
              <a:off x="4512472" y="-2"/>
              <a:ext cx="7679526" cy="5982735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0" name="Right Triangle 68">
              <a:extLst>
                <a:ext uri="{FF2B5EF4-FFF2-40B4-BE49-F238E27FC236}">
                  <a16:creationId xmlns:a16="http://schemas.microsoft.com/office/drawing/2014/main" id="{AADAAEEE-CE2D-4314-B4A5-DCF2C46AFAC2}"/>
                </a:ext>
              </a:extLst>
            </p:cNvPr>
            <p:cNvSpPr/>
            <p:nvPr userDrawn="1"/>
          </p:nvSpPr>
          <p:spPr>
            <a:xfrm rot="10800000" flipH="1" flipV="1">
              <a:off x="-17093" y="2202945"/>
              <a:ext cx="6832118" cy="4655055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1" name="Right Triangle 71">
              <a:extLst>
                <a:ext uri="{FF2B5EF4-FFF2-40B4-BE49-F238E27FC236}">
                  <a16:creationId xmlns:a16="http://schemas.microsoft.com/office/drawing/2014/main" id="{2D9FA098-CF1F-440A-86AC-676DF90080AC}"/>
                </a:ext>
              </a:extLst>
            </p:cNvPr>
            <p:cNvSpPr/>
            <p:nvPr userDrawn="1"/>
          </p:nvSpPr>
          <p:spPr>
            <a:xfrm rot="10800000" flipH="1" flipV="1">
              <a:off x="-17093" y="3101608"/>
              <a:ext cx="5513165" cy="375638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34" y="5582094"/>
            <a:ext cx="2561167" cy="1045831"/>
          </a:xfrm>
          <a:prstGeom prst="rect">
            <a:avLst/>
          </a:prstGeom>
          <a:noFill/>
        </p:spPr>
      </p:pic>
      <p:sp>
        <p:nvSpPr>
          <p:cNvPr id="13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11151"/>
            <a:ext cx="5724528" cy="1338356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личное начало!</a:t>
            </a:r>
          </a:p>
          <a:p>
            <a:pPr lvl="0"/>
            <a:endParaRPr lang="ru-RU" dirty="0"/>
          </a:p>
        </p:txBody>
      </p:sp>
      <p:sp>
        <p:nvSpPr>
          <p:cNvPr id="14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7074186" y="1649508"/>
            <a:ext cx="4746343" cy="819151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Хорошее продолжение.</a:t>
            </a:r>
          </a:p>
        </p:txBody>
      </p:sp>
    </p:spTree>
    <p:extLst>
      <p:ext uri="{BB962C8B-B14F-4D97-AF65-F5344CB8AC3E}">
        <p14:creationId xmlns:p14="http://schemas.microsoft.com/office/powerpoint/2010/main" val="1327066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4 - рисун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1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2"/>
            <a:ext cx="12192000" cy="4360987"/>
          </a:xfrm>
          <a:prstGeom prst="rect">
            <a:avLst/>
          </a:prstGeom>
          <a:pattFill prst="pct40">
            <a:fgClr>
              <a:schemeClr val="accent4"/>
            </a:fgClr>
            <a:bgClr>
              <a:schemeClr val="bg1"/>
            </a:bgClr>
          </a:pattFill>
          <a:ln w="22225" cap="rnd">
            <a:noFill/>
            <a:miter lim="800000"/>
          </a:ln>
        </p:spPr>
        <p:txBody>
          <a:bodyPr lIns="68580" tIns="34290" rIns="68580" bIns="34290" anchor="ctr"/>
          <a:lstStyle>
            <a:lvl1pPr marL="0" indent="0" algn="ctr">
              <a:buNone/>
              <a:defRPr baseline="0"/>
            </a:lvl1pPr>
          </a:lstStyle>
          <a:p>
            <a:r>
              <a:rPr lang="ru-RU" dirty="0"/>
              <a:t>Выберите/перетащите изображение</a:t>
            </a:r>
          </a:p>
        </p:txBody>
      </p:sp>
      <p:sp>
        <p:nvSpPr>
          <p:cNvPr id="6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474785" y="4525510"/>
            <a:ext cx="7649308" cy="151342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4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тличное начало!</a:t>
            </a:r>
          </a:p>
        </p:txBody>
      </p:sp>
      <p:sp>
        <p:nvSpPr>
          <p:cNvPr id="7" name="Текст 14"/>
          <p:cNvSpPr>
            <a:spLocks noGrp="1"/>
          </p:cNvSpPr>
          <p:nvPr>
            <p:ph type="body" sz="quarter" idx="13" hasCustomPrompt="1"/>
          </p:nvPr>
        </p:nvSpPr>
        <p:spPr>
          <a:xfrm>
            <a:off x="474785" y="6075938"/>
            <a:ext cx="7649308" cy="78206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орошее продолжение.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5728" y="5662246"/>
            <a:ext cx="2224112" cy="90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16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+ 2 геометрических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A431FDE-8D89-44F0-AC9D-28031DE1A051}"/>
              </a:ext>
            </a:extLst>
          </p:cNvPr>
          <p:cNvSpPr/>
          <p:nvPr userDrawn="1"/>
        </p:nvSpPr>
        <p:spPr>
          <a:xfrm>
            <a:off x="3581933" y="914399"/>
            <a:ext cx="5032679" cy="5033212"/>
          </a:xfrm>
          <a:prstGeom prst="rect">
            <a:avLst/>
          </a:prstGeom>
          <a:gradFill flip="none" rotWithShape="1">
            <a:gsLst>
              <a:gs pos="57000">
                <a:srgbClr val="00A345"/>
              </a:gs>
              <a:gs pos="0">
                <a:srgbClr val="00CA55"/>
              </a:gs>
              <a:gs pos="2000">
                <a:srgbClr val="00CA55"/>
              </a:gs>
              <a:gs pos="45000">
                <a:srgbClr val="00B04B"/>
              </a:gs>
              <a:gs pos="68000">
                <a:srgbClr val="019841"/>
              </a:gs>
              <a:gs pos="100000">
                <a:srgbClr val="00843D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>
              <a:latin typeface="Franklin Gothic Book" panose="020B0503020102020204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3240635" y="579425"/>
            <a:ext cx="5707075" cy="5707075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>
              <a:latin typeface="Franklin Gothic Book" panose="020B0503020102020204" pitchFamily="34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8101" y="2258217"/>
            <a:ext cx="4495800" cy="2341563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 algn="ctr"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пишите, вставьте, скопируйт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-9470" y="0"/>
            <a:ext cx="2979396" cy="6858000"/>
          </a:xfrm>
          <a:prstGeom prst="rtTriangle">
            <a:avLst/>
          </a:prstGeom>
        </p:spPr>
        <p:txBody>
          <a:bodyPr vert="vert270" lIns="68580" tIns="34290" rIns="68580" bIns="34290"/>
          <a:lstStyle>
            <a:lvl1pPr algn="l">
              <a:defRPr sz="2400"/>
            </a:lvl1pPr>
          </a:lstStyle>
          <a:p>
            <a:endParaRPr lang="ru-RU" dirty="0"/>
          </a:p>
        </p:txBody>
      </p:sp>
      <p:sp>
        <p:nvSpPr>
          <p:cNvPr id="7" name="Номер слайда 7"/>
          <p:cNvSpPr>
            <a:spLocks noGrp="1"/>
          </p:cNvSpPr>
          <p:nvPr>
            <p:ph type="sldNum" sz="quarter" idx="4"/>
          </p:nvPr>
        </p:nvSpPr>
        <p:spPr>
          <a:xfrm>
            <a:off x="9277356" y="6364740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C4EA483C-E001-4B42-85B7-39799366E99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9192987" y="1"/>
            <a:ext cx="2999015" cy="6874329"/>
          </a:xfrm>
          <a:custGeom>
            <a:avLst/>
            <a:gdLst>
              <a:gd name="connsiteX0" fmla="*/ 0 w 2734355"/>
              <a:gd name="connsiteY0" fmla="*/ 0 h 6858000"/>
              <a:gd name="connsiteX1" fmla="*/ 2734355 w 2734355"/>
              <a:gd name="connsiteY1" fmla="*/ 0 h 6858000"/>
              <a:gd name="connsiteX2" fmla="*/ 2734355 w 2734355"/>
              <a:gd name="connsiteY2" fmla="*/ 6858000 h 6858000"/>
              <a:gd name="connsiteX3" fmla="*/ 0 w 2734355"/>
              <a:gd name="connsiteY3" fmla="*/ 6858000 h 6858000"/>
              <a:gd name="connsiteX4" fmla="*/ 0 w 2734355"/>
              <a:gd name="connsiteY4" fmla="*/ 0 h 6858000"/>
              <a:gd name="connsiteX0" fmla="*/ 0 w 2734355"/>
              <a:gd name="connsiteY0" fmla="*/ 0 h 6874329"/>
              <a:gd name="connsiteX1" fmla="*/ 2734355 w 2734355"/>
              <a:gd name="connsiteY1" fmla="*/ 0 h 6874329"/>
              <a:gd name="connsiteX2" fmla="*/ 2734355 w 2734355"/>
              <a:gd name="connsiteY2" fmla="*/ 6858000 h 6874329"/>
              <a:gd name="connsiteX3" fmla="*/ 2718707 w 2734355"/>
              <a:gd name="connsiteY3" fmla="*/ 6874329 h 6874329"/>
              <a:gd name="connsiteX4" fmla="*/ 0 w 2734355"/>
              <a:gd name="connsiteY4" fmla="*/ 0 h 687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4355" h="6874329">
                <a:moveTo>
                  <a:pt x="0" y="0"/>
                </a:moveTo>
                <a:lnTo>
                  <a:pt x="2734355" y="0"/>
                </a:lnTo>
                <a:lnTo>
                  <a:pt x="2734355" y="6858000"/>
                </a:lnTo>
                <a:lnTo>
                  <a:pt x="2718707" y="6874329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vert" lIns="68580" tIns="34290" rIns="68580" bIns="34290"/>
          <a:lstStyle>
            <a:lvl1pPr>
              <a:defRPr sz="2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7441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+ 2 прямоугольных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A431FDE-8D89-44F0-AC9D-28031DE1A051}"/>
              </a:ext>
            </a:extLst>
          </p:cNvPr>
          <p:cNvSpPr/>
          <p:nvPr userDrawn="1"/>
        </p:nvSpPr>
        <p:spPr>
          <a:xfrm>
            <a:off x="3581933" y="914399"/>
            <a:ext cx="5032679" cy="5033212"/>
          </a:xfrm>
          <a:prstGeom prst="rect">
            <a:avLst/>
          </a:prstGeom>
          <a:gradFill flip="none" rotWithShape="1">
            <a:gsLst>
              <a:gs pos="57000">
                <a:srgbClr val="00A345"/>
              </a:gs>
              <a:gs pos="0">
                <a:srgbClr val="00CA55"/>
              </a:gs>
              <a:gs pos="2000">
                <a:srgbClr val="00CA55"/>
              </a:gs>
              <a:gs pos="45000">
                <a:srgbClr val="00B04B"/>
              </a:gs>
              <a:gs pos="68000">
                <a:srgbClr val="019841"/>
              </a:gs>
              <a:gs pos="100000">
                <a:srgbClr val="00843D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>
              <a:latin typeface="Franklin Gothic Book" panose="020B0503020102020204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3240635" y="579425"/>
            <a:ext cx="5707075" cy="5707075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>
              <a:latin typeface="Franklin Gothic Book" panose="020B0503020102020204" pitchFamily="34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8101" y="2258217"/>
            <a:ext cx="4495800" cy="2341563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 algn="ctr"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пишите, вставьте, скопируйте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2907535" cy="6858000"/>
          </a:xfrm>
          <a:prstGeom prst="rect">
            <a:avLst/>
          </a:prstGeom>
          <a:noFill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sz="quarter" idx="14"/>
          </p:nvPr>
        </p:nvSpPr>
        <p:spPr>
          <a:xfrm>
            <a:off x="9289009" y="0"/>
            <a:ext cx="2902993" cy="6858000"/>
          </a:xfrm>
          <a:prstGeom prst="rect">
            <a:avLst/>
          </a:prstGeom>
          <a:noFill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7" name="Номер слайда 7"/>
          <p:cNvSpPr>
            <a:spLocks noGrp="1"/>
          </p:cNvSpPr>
          <p:nvPr>
            <p:ph type="sldNum" sz="quarter" idx="4"/>
          </p:nvPr>
        </p:nvSpPr>
        <p:spPr>
          <a:xfrm>
            <a:off x="9448800" y="6364740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C4EA483C-E001-4B42-85B7-39799366E9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61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3F17D3-1E7F-3B4A-A3CB-ED41A6453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DEFA5E9-0309-3045-8498-16C487A45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B0C7EE0-2102-7F4A-82DC-547F22207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0EF5D96-CE02-EF4A-82BA-CAB6F0482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B3DEDEE-E971-424D-9093-79EAE01DA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8164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фон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A431FDE-8D89-44F0-AC9D-28031DE1A051}"/>
              </a:ext>
            </a:extLst>
          </p:cNvPr>
          <p:cNvSpPr/>
          <p:nvPr userDrawn="1"/>
        </p:nvSpPr>
        <p:spPr>
          <a:xfrm>
            <a:off x="-1" y="1"/>
            <a:ext cx="6096001" cy="6872439"/>
          </a:xfrm>
          <a:prstGeom prst="rect">
            <a:avLst/>
          </a:prstGeom>
          <a:gradFill flip="none" rotWithShape="1">
            <a:gsLst>
              <a:gs pos="0">
                <a:srgbClr val="00BC51"/>
              </a:gs>
              <a:gs pos="100000">
                <a:srgbClr val="00843D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79" y="219007"/>
            <a:ext cx="637709" cy="618391"/>
          </a:xfrm>
          <a:prstGeom prst="rect">
            <a:avLst/>
          </a:prstGeom>
        </p:spPr>
      </p:pic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212851" y="219075"/>
            <a:ext cx="4562475" cy="617539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10879" y="1055688"/>
            <a:ext cx="5464447" cy="5508741"/>
          </a:xfrm>
          <a:prstGeom prst="rect">
            <a:avLst/>
          </a:prstGeom>
        </p:spPr>
        <p:txBody>
          <a:bodyPr lIns="68580" tIns="34290" rIns="68580" bIns="34290"/>
          <a:lstStyle>
            <a:lvl1pPr marL="0" marR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пишите, скопируйте, перетащите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60265" y="219075"/>
            <a:ext cx="5464447" cy="617539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60265" y="1055688"/>
            <a:ext cx="5464447" cy="5508741"/>
          </a:xfrm>
          <a:prstGeom prst="rect">
            <a:avLst/>
          </a:prstGeom>
        </p:spPr>
        <p:txBody>
          <a:bodyPr lIns="68580" tIns="34290" rIns="68580" bIns="34290"/>
          <a:lstStyle>
            <a:lvl1pPr marL="0" marR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пишите, скопируйте, перетащит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>
          <a:xfrm>
            <a:off x="9448800" y="6364740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C4EA483C-E001-4B42-85B7-39799366E9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3994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фон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A431FDE-8D89-44F0-AC9D-28031DE1A051}"/>
              </a:ext>
            </a:extLst>
          </p:cNvPr>
          <p:cNvSpPr/>
          <p:nvPr userDrawn="1"/>
        </p:nvSpPr>
        <p:spPr>
          <a:xfrm>
            <a:off x="609600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rgbClr val="00BC51"/>
              </a:gs>
              <a:gs pos="100000">
                <a:srgbClr val="00843D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240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4002" y="218223"/>
            <a:ext cx="637709" cy="618391"/>
          </a:xfrm>
          <a:prstGeom prst="rect">
            <a:avLst/>
          </a:prstGeom>
        </p:spPr>
      </p:pic>
      <p:sp>
        <p:nvSpPr>
          <p:cNvPr id="5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310879" y="219075"/>
            <a:ext cx="5464447" cy="617539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10879" y="1055688"/>
            <a:ext cx="5464447" cy="5508741"/>
          </a:xfrm>
          <a:prstGeom prst="rect">
            <a:avLst/>
          </a:prstGeom>
        </p:spPr>
        <p:txBody>
          <a:bodyPr lIns="68580" tIns="34290" rIns="68580" bIns="34290"/>
          <a:lstStyle>
            <a:lvl1pPr marL="0" marR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пишите, скопируйте, перетащите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437265" y="219075"/>
            <a:ext cx="4612367" cy="617539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437265" y="1055688"/>
            <a:ext cx="5464447" cy="5508741"/>
          </a:xfrm>
          <a:prstGeom prst="rect">
            <a:avLst/>
          </a:prstGeom>
        </p:spPr>
        <p:txBody>
          <a:bodyPr lIns="68580" tIns="34290" rIns="68580" bIns="34290"/>
          <a:lstStyle>
            <a:lvl1pPr marL="0" marR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3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пишите, скопируйте, перетащите</a:t>
            </a:r>
          </a:p>
        </p:txBody>
      </p:sp>
      <p:sp>
        <p:nvSpPr>
          <p:cNvPr id="9" name="Номер слайда 7"/>
          <p:cNvSpPr>
            <a:spLocks noGrp="1"/>
          </p:cNvSpPr>
          <p:nvPr>
            <p:ph type="sldNum" sz="quarter" idx="4"/>
          </p:nvPr>
        </p:nvSpPr>
        <p:spPr>
          <a:xfrm>
            <a:off x="9448800" y="6364740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4EA483C-E001-4B42-85B7-39799366E9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752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B071BD-5F11-F149-AF39-C8C8B8AF6A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4651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5000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781000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468665" y="5341463"/>
            <a:ext cx="2520000" cy="12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15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84601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520037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38542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509000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35700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104092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565000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78104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493000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81040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595C23-40C1-FA47-82FA-89DB5FF13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AB3E0E9-5D9E-5341-A968-34202A837A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DE4AB6F-B231-484E-8F30-66C4DA2E7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874197-F215-394D-B30C-7FB2B654C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A3BAD20-CC9D-8346-96E2-1993EE26E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4645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580999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35700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1655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076874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140874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1892279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827095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296000" y="1772816"/>
            <a:ext cx="4272112" cy="8113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24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46849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296000" y="1772816"/>
            <a:ext cx="4272112" cy="8113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24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429791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2816"/>
            <a:ext cx="1006525" cy="648509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296000" y="1772816"/>
            <a:ext cx="4272112" cy="8113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24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906983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84666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2574450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7917432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426692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4038600" y="2404526"/>
            <a:ext cx="4114800" cy="204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773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E282AF-F7C9-1348-9842-1F2EDF3AD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61B149C-E7EE-4F44-BE79-B350E95D5C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D3E9EC9-D2AA-CB4F-899B-2CFF024F06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03E616D-D9F1-E249-936A-24AD7960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5B9FC9-54DD-624E-BB8D-CF52E40BD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24D8020-924D-4045-B46E-26F368800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8776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675063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6024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0751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1540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23250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888112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1713" y="1484312"/>
            <a:ext cx="3888112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8876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00468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1742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41653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 bwMode="gray">
          <a:xfrm>
            <a:off x="623888" y="4437469"/>
            <a:ext cx="3888112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772823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30F075-0BBD-A142-8476-00576C805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A5A1A09-184B-6445-8450-39A5A13596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2D5CDDC-6D88-694C-8F9B-8774A32813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EA29CD4-588F-AA4E-B730-83E49F7798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50A4D36-E81C-D14C-B76C-53D705EBCF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8DEB949-37D0-9349-A985-6E9FA56FF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A11B145-8A59-3A4A-8218-DCA4E8A49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4D96268-BC82-8540-A920-FD6E2C24F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26172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2191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5577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 dirty="0"/>
              <a:t>Team Performance Workshop | December 20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392489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72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0214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64603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6092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B4765E-FFDA-C34F-9266-CCA383575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6AB711D-E72A-7F4D-BF33-B5CA642C4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ED6A8A-CEF2-AA48-B0E9-51A81BB36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F2C3FA2-1D36-3642-AAAE-A010EC139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615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3E73E61-DA58-C24B-883F-EAD05187FD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BACFF4C-03E4-E94B-A01A-195AB9579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6DFFB7C-79D3-DB4D-949F-D8E4E37AC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5461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E3A882-5359-AA47-BC44-2CE9BF797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B8A7C76-5595-1A49-A909-29DA3F50DC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7E49A1E-681E-8043-AB4B-B4980B2EBE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953DD40-8654-1644-89EC-91B067F56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4BA8134-0ABF-6847-8A1C-392E3AF0B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1A8CCB2-D3AF-8D4B-A936-11FEBE761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875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B39EC9-52CF-9649-9C62-C011CE0DE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30359C4-FB5D-9746-9969-691E4B04BB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FA957E4-0819-FE42-8EF6-8CA16E584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06F97DA-6027-5347-B703-7B44590F9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B205221-0501-BE48-A5DC-EBFFDD07F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981CF7F-062B-1746-BA2F-86BFBBEF1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576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43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41" Type="http://schemas.openxmlformats.org/officeDocument/2006/relationships/image" Target="../media/image5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tags" Target="../tags/tag4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CE416E-0FAB-9A49-9021-0EE18553D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09DF3C-63F1-734F-AFC6-10F10444B6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B62D369-A096-D145-B867-45F630187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CF82BC-C918-284F-A54E-4EE26DD76329}" type="datetimeFigureOut">
              <a:rPr lang="ru-RU" smtClean="0"/>
              <a:t>12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521F54-D5D3-E642-8794-B044B5F0E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E87AF7-F0AF-B64E-A8C5-52C0D23DB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16F020-5AFE-DE46-8573-EA7CDBE4B3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2063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94" r:id="rId12"/>
    <p:sldLayoutId id="214748391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C2A9DC-23D4-4647-B824-59DA5B707B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786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3" r:id="rId9"/>
  </p:sldLayoutIdLst>
  <p:hf hdr="0" ftr="0" dt="0"/>
  <p:txStyles>
    <p:titleStyle>
      <a:lvl1pPr algn="l" defTabSz="91438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8" indent="-228598" algn="l" defTabSz="914388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2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6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1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75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69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4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8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2" indent="-228598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88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2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6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0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8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40044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270" imgH="270" progId="TCLayout.ActiveDocument.1">
                  <p:embed/>
                </p:oleObj>
              </mc:Choice>
              <mc:Fallback>
                <p:oleObj name="think-cell Folie" r:id="rId40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42859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6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eam Performance Workshop | December 2015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30800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38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VCT_Marker_ID_3" hidden="1"/>
          <p:cNvSpPr/>
          <p:nvPr userDrawn="1">
            <p:custDataLst>
              <p:tags r:id="rId3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 rtl="0" eaLnBrk="1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b="0" i="0" u="none" kern="0" baseline="0" dirty="0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919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elendik.com/wp-content/uploads/2019/10/Test-Blagodarnost.pdf?ysclid=ldurc6pst2444214583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31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3" name="Rectangle 37">
            <a:extLst>
              <a:ext uri="{FF2B5EF4-FFF2-40B4-BE49-F238E27FC236}">
                <a16:creationId xmlns:a16="http://schemas.microsoft.com/office/drawing/2014/main" id="{B87C619C-EBAB-488E-96B9-153AA4C9B4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39">
            <a:extLst>
              <a:ext uri="{FF2B5EF4-FFF2-40B4-BE49-F238E27FC236}">
                <a16:creationId xmlns:a16="http://schemas.microsoft.com/office/drawing/2014/main" id="{130DA1C1-36FD-41D8-9826-EE797BF39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453312" cy="6858000"/>
          </a:xfrm>
          <a:custGeom>
            <a:avLst/>
            <a:gdLst>
              <a:gd name="connsiteX0" fmla="*/ 0 w 7433452"/>
              <a:gd name="connsiteY0" fmla="*/ 0 h 6858000"/>
              <a:gd name="connsiteX1" fmla="*/ 1592736 w 7433452"/>
              <a:gd name="connsiteY1" fmla="*/ 0 h 6858000"/>
              <a:gd name="connsiteX2" fmla="*/ 2171700 w 7433452"/>
              <a:gd name="connsiteY2" fmla="*/ 0 h 6858000"/>
              <a:gd name="connsiteX3" fmla="*/ 2762696 w 7433452"/>
              <a:gd name="connsiteY3" fmla="*/ 0 h 6858000"/>
              <a:gd name="connsiteX4" fmla="*/ 2829254 w 7433452"/>
              <a:gd name="connsiteY4" fmla="*/ 0 h 6858000"/>
              <a:gd name="connsiteX5" fmla="*/ 7415310 w 7433452"/>
              <a:gd name="connsiteY5" fmla="*/ 0 h 6858000"/>
              <a:gd name="connsiteX6" fmla="*/ 7405703 w 7433452"/>
              <a:gd name="connsiteY6" fmla="*/ 94814 h 6858000"/>
              <a:gd name="connsiteX7" fmla="*/ 7410754 w 7433452"/>
              <a:gd name="connsiteY7" fmla="*/ 421796 h 6858000"/>
              <a:gd name="connsiteX8" fmla="*/ 7414688 w 7433452"/>
              <a:gd name="connsiteY8" fmla="*/ 812192 h 6858000"/>
              <a:gd name="connsiteX9" fmla="*/ 7395017 w 7433452"/>
              <a:gd name="connsiteY9" fmla="*/ 1113642 h 6858000"/>
              <a:gd name="connsiteX10" fmla="*/ 7422810 w 7433452"/>
              <a:gd name="connsiteY10" fmla="*/ 1796708 h 6858000"/>
              <a:gd name="connsiteX11" fmla="*/ 7421161 w 7433452"/>
              <a:gd name="connsiteY11" fmla="*/ 2327333 h 6858000"/>
              <a:gd name="connsiteX12" fmla="*/ 7412023 w 7433452"/>
              <a:gd name="connsiteY12" fmla="*/ 2784280 h 6858000"/>
              <a:gd name="connsiteX13" fmla="*/ 7417480 w 7433452"/>
              <a:gd name="connsiteY13" fmla="*/ 2985458 h 6858000"/>
              <a:gd name="connsiteX14" fmla="*/ 7403774 w 7433452"/>
              <a:gd name="connsiteY14" fmla="*/ 3531096 h 6858000"/>
              <a:gd name="connsiteX15" fmla="*/ 7414307 w 7433452"/>
              <a:gd name="connsiteY15" fmla="*/ 4336830 h 6858000"/>
              <a:gd name="connsiteX16" fmla="*/ 7413419 w 7433452"/>
              <a:gd name="connsiteY16" fmla="*/ 5026893 h 6858000"/>
              <a:gd name="connsiteX17" fmla="*/ 7417734 w 7433452"/>
              <a:gd name="connsiteY17" fmla="*/ 5252632 h 6858000"/>
              <a:gd name="connsiteX18" fmla="*/ 7417734 w 7433452"/>
              <a:gd name="connsiteY18" fmla="*/ 5466282 h 6858000"/>
              <a:gd name="connsiteX19" fmla="*/ 7379659 w 7433452"/>
              <a:gd name="connsiteY19" fmla="*/ 6121225 h 6858000"/>
              <a:gd name="connsiteX20" fmla="*/ 7395115 w 7433452"/>
              <a:gd name="connsiteY20" fmla="*/ 6708907 h 6858000"/>
              <a:gd name="connsiteX21" fmla="*/ 7412408 w 7433452"/>
              <a:gd name="connsiteY21" fmla="*/ 6858000 h 6858000"/>
              <a:gd name="connsiteX22" fmla="*/ 2829254 w 7433452"/>
              <a:gd name="connsiteY22" fmla="*/ 6858000 h 6858000"/>
              <a:gd name="connsiteX23" fmla="*/ 2762696 w 7433452"/>
              <a:gd name="connsiteY23" fmla="*/ 6858000 h 6858000"/>
              <a:gd name="connsiteX24" fmla="*/ 2171700 w 7433452"/>
              <a:gd name="connsiteY24" fmla="*/ 6858000 h 6858000"/>
              <a:gd name="connsiteX25" fmla="*/ 1592736 w 7433452"/>
              <a:gd name="connsiteY25" fmla="*/ 6858000 h 6858000"/>
              <a:gd name="connsiteX26" fmla="*/ 0 w 7433452"/>
              <a:gd name="connsiteY2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433452" h="6858000">
                <a:moveTo>
                  <a:pt x="0" y="0"/>
                </a:moveTo>
                <a:lnTo>
                  <a:pt x="1592736" y="0"/>
                </a:lnTo>
                <a:lnTo>
                  <a:pt x="2171700" y="0"/>
                </a:lnTo>
                <a:lnTo>
                  <a:pt x="2762696" y="0"/>
                </a:lnTo>
                <a:lnTo>
                  <a:pt x="2829254" y="0"/>
                </a:lnTo>
                <a:lnTo>
                  <a:pt x="7415310" y="0"/>
                </a:lnTo>
                <a:lnTo>
                  <a:pt x="7405703" y="94814"/>
                </a:lnTo>
                <a:cubicBezTo>
                  <a:pt x="7398856" y="203629"/>
                  <a:pt x="7403520" y="312712"/>
                  <a:pt x="7410754" y="421796"/>
                </a:cubicBezTo>
                <a:cubicBezTo>
                  <a:pt x="7421580" y="551656"/>
                  <a:pt x="7422900" y="682144"/>
                  <a:pt x="7414688" y="812192"/>
                </a:cubicBezTo>
                <a:cubicBezTo>
                  <a:pt x="7406693" y="912591"/>
                  <a:pt x="7397682" y="1012988"/>
                  <a:pt x="7395017" y="1113642"/>
                </a:cubicBezTo>
                <a:cubicBezTo>
                  <a:pt x="7388670" y="1342689"/>
                  <a:pt x="7407708" y="1569316"/>
                  <a:pt x="7422810" y="1796708"/>
                </a:cubicBezTo>
                <a:cubicBezTo>
                  <a:pt x="7434487" y="1973710"/>
                  <a:pt x="7439944" y="2150457"/>
                  <a:pt x="7421161" y="2327333"/>
                </a:cubicBezTo>
                <a:cubicBezTo>
                  <a:pt x="7405170" y="2479266"/>
                  <a:pt x="7396793" y="2631453"/>
                  <a:pt x="7412023" y="2784280"/>
                </a:cubicBezTo>
                <a:cubicBezTo>
                  <a:pt x="7418749" y="2851085"/>
                  <a:pt x="7425984" y="2918653"/>
                  <a:pt x="7417480" y="2985458"/>
                </a:cubicBezTo>
                <a:cubicBezTo>
                  <a:pt x="7394508" y="3167039"/>
                  <a:pt x="7398063" y="3349132"/>
                  <a:pt x="7403774" y="3531096"/>
                </a:cubicBezTo>
                <a:cubicBezTo>
                  <a:pt x="7412277" y="3799715"/>
                  <a:pt x="7426364" y="4067954"/>
                  <a:pt x="7414307" y="4336830"/>
                </a:cubicBezTo>
                <a:cubicBezTo>
                  <a:pt x="7404027" y="4566639"/>
                  <a:pt x="7420653" y="4796831"/>
                  <a:pt x="7413419" y="5026893"/>
                </a:cubicBezTo>
                <a:cubicBezTo>
                  <a:pt x="7410982" y="5102162"/>
                  <a:pt x="7412429" y="5177504"/>
                  <a:pt x="7417734" y="5252632"/>
                </a:cubicBezTo>
                <a:cubicBezTo>
                  <a:pt x="7424271" y="5323700"/>
                  <a:pt x="7424271" y="5395213"/>
                  <a:pt x="7417734" y="5466282"/>
                </a:cubicBezTo>
                <a:cubicBezTo>
                  <a:pt x="7393239" y="5683875"/>
                  <a:pt x="7383214" y="5902486"/>
                  <a:pt x="7379659" y="6121225"/>
                </a:cubicBezTo>
                <a:cubicBezTo>
                  <a:pt x="7376423" y="6317442"/>
                  <a:pt x="7378041" y="6513586"/>
                  <a:pt x="7395115" y="6708907"/>
                </a:cubicBezTo>
                <a:lnTo>
                  <a:pt x="7412408" y="6858000"/>
                </a:lnTo>
                <a:lnTo>
                  <a:pt x="2829254" y="6858000"/>
                </a:lnTo>
                <a:lnTo>
                  <a:pt x="2762696" y="6858000"/>
                </a:lnTo>
                <a:lnTo>
                  <a:pt x="2171700" y="6858000"/>
                </a:lnTo>
                <a:lnTo>
                  <a:pt x="15927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C983D0-09BA-7F42-9309-F2D53ACA31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484632"/>
            <a:ext cx="6081713" cy="3566160"/>
          </a:xfrm>
        </p:spPr>
        <p:txBody>
          <a:bodyPr>
            <a:normAutofit/>
          </a:bodyPr>
          <a:lstStyle/>
          <a:p>
            <a:pPr algn="l"/>
            <a:r>
              <a:rPr lang="ru-RU" sz="5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ЕРСТВО В ТУРБУЛЕНТНОЕ ВРЕМЯ</a:t>
            </a:r>
            <a:endParaRPr lang="ru-RU" sz="5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6200829-28FC-4B41-98F5-D54BE106AF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480560"/>
            <a:ext cx="6081713" cy="1572768"/>
          </a:xfrm>
        </p:spPr>
        <p:txBody>
          <a:bodyPr>
            <a:normAutofit/>
          </a:bodyPr>
          <a:lstStyle/>
          <a:p>
            <a:pPr algn="l"/>
            <a:r>
              <a:rPr lang="ru-RU">
                <a:solidFill>
                  <a:srgbClr val="FFFFFF"/>
                </a:solidFill>
              </a:rPr>
              <a:t>Март 2023</a:t>
            </a: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F99497-DA12-B5AA-3179-1D1A5388E1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112" t="23576" r="4112" b="23576"/>
          <a:stretch/>
        </p:blipFill>
        <p:spPr>
          <a:xfrm>
            <a:off x="8039632" y="283464"/>
            <a:ext cx="3667964" cy="2904040"/>
          </a:xfrm>
          <a:prstGeom prst="rect">
            <a:avLst/>
          </a:prstGeom>
        </p:spPr>
      </p:pic>
      <p:sp>
        <p:nvSpPr>
          <p:cNvPr id="55" name="sketch line">
            <a:extLst>
              <a:ext uri="{FF2B5EF4-FFF2-40B4-BE49-F238E27FC236}">
                <a16:creationId xmlns:a16="http://schemas.microsoft.com/office/drawing/2014/main" id="{35BC54F7-1315-4D6C-9420-A5BF0CDDB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45475" y="4252192"/>
            <a:ext cx="4056549" cy="18288"/>
          </a:xfrm>
          <a:custGeom>
            <a:avLst/>
            <a:gdLst>
              <a:gd name="connsiteX0" fmla="*/ 0 w 4056549"/>
              <a:gd name="connsiteY0" fmla="*/ 0 h 18288"/>
              <a:gd name="connsiteX1" fmla="*/ 676092 w 4056549"/>
              <a:gd name="connsiteY1" fmla="*/ 0 h 18288"/>
              <a:gd name="connsiteX2" fmla="*/ 1271052 w 4056549"/>
              <a:gd name="connsiteY2" fmla="*/ 0 h 18288"/>
              <a:gd name="connsiteX3" fmla="*/ 1947144 w 4056549"/>
              <a:gd name="connsiteY3" fmla="*/ 0 h 18288"/>
              <a:gd name="connsiteX4" fmla="*/ 2501539 w 4056549"/>
              <a:gd name="connsiteY4" fmla="*/ 0 h 18288"/>
              <a:gd name="connsiteX5" fmla="*/ 3137065 w 4056549"/>
              <a:gd name="connsiteY5" fmla="*/ 0 h 18288"/>
              <a:gd name="connsiteX6" fmla="*/ 4056549 w 4056549"/>
              <a:gd name="connsiteY6" fmla="*/ 0 h 18288"/>
              <a:gd name="connsiteX7" fmla="*/ 4056549 w 4056549"/>
              <a:gd name="connsiteY7" fmla="*/ 18288 h 18288"/>
              <a:gd name="connsiteX8" fmla="*/ 3380458 w 4056549"/>
              <a:gd name="connsiteY8" fmla="*/ 18288 h 18288"/>
              <a:gd name="connsiteX9" fmla="*/ 2663801 w 4056549"/>
              <a:gd name="connsiteY9" fmla="*/ 18288 h 18288"/>
              <a:gd name="connsiteX10" fmla="*/ 2068840 w 4056549"/>
              <a:gd name="connsiteY10" fmla="*/ 18288 h 18288"/>
              <a:gd name="connsiteX11" fmla="*/ 1311618 w 4056549"/>
              <a:gd name="connsiteY11" fmla="*/ 18288 h 18288"/>
              <a:gd name="connsiteX12" fmla="*/ 716657 w 4056549"/>
              <a:gd name="connsiteY12" fmla="*/ 18288 h 18288"/>
              <a:gd name="connsiteX13" fmla="*/ 0 w 4056549"/>
              <a:gd name="connsiteY13" fmla="*/ 18288 h 18288"/>
              <a:gd name="connsiteX14" fmla="*/ 0 w 4056549"/>
              <a:gd name="connsiteY14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6549" h="18288" fill="none" extrusionOk="0">
                <a:moveTo>
                  <a:pt x="0" y="0"/>
                </a:moveTo>
                <a:cubicBezTo>
                  <a:pt x="324395" y="-12272"/>
                  <a:pt x="437185" y="20747"/>
                  <a:pt x="676092" y="0"/>
                </a:cubicBezTo>
                <a:cubicBezTo>
                  <a:pt x="914999" y="-20747"/>
                  <a:pt x="980886" y="20074"/>
                  <a:pt x="1271052" y="0"/>
                </a:cubicBezTo>
                <a:cubicBezTo>
                  <a:pt x="1561218" y="-20074"/>
                  <a:pt x="1609815" y="19965"/>
                  <a:pt x="1947144" y="0"/>
                </a:cubicBezTo>
                <a:cubicBezTo>
                  <a:pt x="2284473" y="-19965"/>
                  <a:pt x="2317816" y="-23682"/>
                  <a:pt x="2501539" y="0"/>
                </a:cubicBezTo>
                <a:cubicBezTo>
                  <a:pt x="2685262" y="23682"/>
                  <a:pt x="2879461" y="12712"/>
                  <a:pt x="3137065" y="0"/>
                </a:cubicBezTo>
                <a:cubicBezTo>
                  <a:pt x="3394669" y="-12712"/>
                  <a:pt x="3618306" y="-41742"/>
                  <a:pt x="4056549" y="0"/>
                </a:cubicBezTo>
                <a:cubicBezTo>
                  <a:pt x="4056201" y="6465"/>
                  <a:pt x="4056979" y="10922"/>
                  <a:pt x="4056549" y="18288"/>
                </a:cubicBezTo>
                <a:cubicBezTo>
                  <a:pt x="3807729" y="-7540"/>
                  <a:pt x="3536237" y="12619"/>
                  <a:pt x="3380458" y="18288"/>
                </a:cubicBezTo>
                <a:cubicBezTo>
                  <a:pt x="3224679" y="23957"/>
                  <a:pt x="2967497" y="23368"/>
                  <a:pt x="2663801" y="18288"/>
                </a:cubicBezTo>
                <a:cubicBezTo>
                  <a:pt x="2360105" y="13208"/>
                  <a:pt x="2359716" y="-8821"/>
                  <a:pt x="2068840" y="18288"/>
                </a:cubicBezTo>
                <a:cubicBezTo>
                  <a:pt x="1777964" y="45397"/>
                  <a:pt x="1641909" y="31681"/>
                  <a:pt x="1311618" y="18288"/>
                </a:cubicBezTo>
                <a:cubicBezTo>
                  <a:pt x="981327" y="4895"/>
                  <a:pt x="990410" y="11155"/>
                  <a:pt x="716657" y="18288"/>
                </a:cubicBezTo>
                <a:cubicBezTo>
                  <a:pt x="442904" y="25421"/>
                  <a:pt x="330722" y="13665"/>
                  <a:pt x="0" y="18288"/>
                </a:cubicBezTo>
                <a:cubicBezTo>
                  <a:pt x="75" y="12069"/>
                  <a:pt x="515" y="5650"/>
                  <a:pt x="0" y="0"/>
                </a:cubicBezTo>
                <a:close/>
              </a:path>
              <a:path w="4056549" h="18288" stroke="0" extrusionOk="0">
                <a:moveTo>
                  <a:pt x="0" y="0"/>
                </a:moveTo>
                <a:cubicBezTo>
                  <a:pt x="175099" y="13469"/>
                  <a:pt x="459673" y="14529"/>
                  <a:pt x="594961" y="0"/>
                </a:cubicBezTo>
                <a:cubicBezTo>
                  <a:pt x="730249" y="-14529"/>
                  <a:pt x="873178" y="22015"/>
                  <a:pt x="1149356" y="0"/>
                </a:cubicBezTo>
                <a:cubicBezTo>
                  <a:pt x="1425534" y="-22015"/>
                  <a:pt x="1498871" y="-21513"/>
                  <a:pt x="1744316" y="0"/>
                </a:cubicBezTo>
                <a:cubicBezTo>
                  <a:pt x="1989761" y="21513"/>
                  <a:pt x="2112991" y="-46"/>
                  <a:pt x="2420408" y="0"/>
                </a:cubicBezTo>
                <a:cubicBezTo>
                  <a:pt x="2727825" y="46"/>
                  <a:pt x="2880256" y="-10040"/>
                  <a:pt x="3137065" y="0"/>
                </a:cubicBezTo>
                <a:cubicBezTo>
                  <a:pt x="3393874" y="10040"/>
                  <a:pt x="3704325" y="-6685"/>
                  <a:pt x="4056549" y="0"/>
                </a:cubicBezTo>
                <a:cubicBezTo>
                  <a:pt x="4055732" y="6895"/>
                  <a:pt x="4055770" y="11206"/>
                  <a:pt x="4056549" y="18288"/>
                </a:cubicBezTo>
                <a:cubicBezTo>
                  <a:pt x="3812770" y="11959"/>
                  <a:pt x="3533996" y="-5717"/>
                  <a:pt x="3299327" y="18288"/>
                </a:cubicBezTo>
                <a:cubicBezTo>
                  <a:pt x="3064658" y="42293"/>
                  <a:pt x="2940381" y="24492"/>
                  <a:pt x="2744931" y="18288"/>
                </a:cubicBezTo>
                <a:cubicBezTo>
                  <a:pt x="2549481" y="12084"/>
                  <a:pt x="2252169" y="51841"/>
                  <a:pt x="1987709" y="18288"/>
                </a:cubicBezTo>
                <a:cubicBezTo>
                  <a:pt x="1723249" y="-15265"/>
                  <a:pt x="1438946" y="3423"/>
                  <a:pt x="1230487" y="18288"/>
                </a:cubicBezTo>
                <a:cubicBezTo>
                  <a:pt x="1022028" y="33153"/>
                  <a:pt x="795957" y="18596"/>
                  <a:pt x="676092" y="18288"/>
                </a:cubicBezTo>
                <a:cubicBezTo>
                  <a:pt x="556227" y="17980"/>
                  <a:pt x="334853" y="39451"/>
                  <a:pt x="0" y="18288"/>
                </a:cubicBezTo>
                <a:cubicBezTo>
                  <a:pt x="95" y="14343"/>
                  <a:pt x="742" y="686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41275" cap="rnd">
            <a:solidFill>
              <a:srgbClr val="FFFFFF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F6F89D9-B162-3182-6E44-CB29A8E78A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7654" y="3682822"/>
            <a:ext cx="3931920" cy="24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870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D4A86F7-51BB-1845-971F-E8036485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96" y="108787"/>
            <a:ext cx="11241996" cy="1363328"/>
          </a:xfrm>
        </p:spPr>
        <p:txBody>
          <a:bodyPr anchor="ctr"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ЦЕННОСТИ – ЭТО УНИКАЛЬНОСТЬ ЧЕЛОВЕ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0175CC2-B1F0-FD47-8508-668ECB6060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5437" y="4310044"/>
            <a:ext cx="2320195" cy="2320195"/>
          </a:xfrm>
          <a:prstGeom prst="rect">
            <a:avLst/>
          </a:prstGeom>
        </p:spPr>
      </p:pic>
      <p:sp>
        <p:nvSpPr>
          <p:cNvPr id="2" name="Объект 3">
            <a:extLst>
              <a:ext uri="{FF2B5EF4-FFF2-40B4-BE49-F238E27FC236}">
                <a16:creationId xmlns:a16="http://schemas.microsoft.com/office/drawing/2014/main" id="{F859463C-CF30-AEE6-75C6-4B0BBC2BA09E}"/>
              </a:ext>
            </a:extLst>
          </p:cNvPr>
          <p:cNvSpPr txBox="1">
            <a:spLocks/>
          </p:cNvSpPr>
          <p:nvPr/>
        </p:nvSpPr>
        <p:spPr>
          <a:xfrm>
            <a:off x="636730" y="1583283"/>
            <a:ext cx="9253814" cy="328852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ru-RU" sz="2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2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Системный шрифт, обычный"/>
              <a:buChar char="–"/>
            </a:pP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Выбираются свободно</a:t>
            </a:r>
          </a:p>
          <a:p>
            <a:pPr marL="285750" indent="-285750">
              <a:buFont typeface="Системный шрифт, обычный"/>
              <a:buChar char="–"/>
            </a:pP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Проявляются в действиях</a:t>
            </a:r>
          </a:p>
          <a:p>
            <a:pPr marL="285750" indent="-285750">
              <a:buFont typeface="Системный шрифт, обычный"/>
              <a:buChar char="–"/>
            </a:pP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Признаются вами публично. Самостоятельно выработанные ценности легко переносят дневной свет. Публичное признание ценностей позволяет каждому человеку проверить эмоциональную связь с ними и степень преданности им</a:t>
            </a:r>
          </a:p>
          <a:p>
            <a:pPr marL="285750" indent="-285750">
              <a:buFont typeface="Системный шрифт, обычный"/>
              <a:buChar char="–"/>
            </a:pPr>
            <a:endParaRPr lang="ru-RU" sz="2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129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2F98C44-3475-943A-6AE5-582DBB282A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16EA677-0039-ACC5-355D-DE455139F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86" y="216709"/>
            <a:ext cx="10515600" cy="878884"/>
          </a:xfrm>
        </p:spPr>
        <p:txBody>
          <a:bodyPr/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ВИДЫ</a:t>
            </a:r>
            <a:r>
              <a:rPr lang="ru-RU" sz="2400" b="0" dirty="0">
                <a:latin typeface="+mj-lt"/>
              </a:rPr>
              <a:t>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НЕКОНСТРУКТИВНОГО МЫШЛЕНИЯ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D390C8-F5A9-673F-D4BF-30F0AEF5AAAD}"/>
              </a:ext>
            </a:extLst>
          </p:cNvPr>
          <p:cNvSpPr txBox="1"/>
          <p:nvPr/>
        </p:nvSpPr>
        <p:spPr bwMode="gray">
          <a:xfrm>
            <a:off x="373686" y="1536174"/>
            <a:ext cx="10802912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ЧРЕЗМЕРНО КАТЕГОРИЧНОЕ – вы видите вещи в черно-белых тонах. Если ваша работа несовершенна, то вы считаете себя полным неудачником. Или же, делая доброе дело, вы чувствуете себя героем, что чреват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следующим разочарование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ЗЛИШНЕ АБСТРАКТНОЕ – вы обобщаете частные факты, говоря «всегда, никогда, все, никто, ничего». Или же, характеризуя себя или кого-то еще, делаете это в очень широком негативном смысле, далеко уходя от конкретного изъяна в поведении, (например: «плохой, глупый, уродливый, ленивый, некомпетентный, неадекватный, никчемный»)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ЛИШКОМ КАТАСТРОФИЧЕСКОЕ – вы сильно преувеличиваете дурные события, покуда они не приобретают в вашем сознании катастрофические размеры. Вы используете такие слова, как «страшный, ужасный, кошмарный, трагический, конец света».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ы игнорируете свои собственные ресурсы.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ЕОПРАВДАННО ПЕССИМИСТИЧНОЕ – вы замечаете только плохое и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гнорирует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озитивные стороны вашей жизни. Вы выступаете с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неоправданно мрачными прогнозам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 будущее и пользуетесь словами «пустой, проклятый, безнадежный».</a:t>
            </a:r>
          </a:p>
        </p:txBody>
      </p:sp>
    </p:spTree>
    <p:extLst>
      <p:ext uri="{BB962C8B-B14F-4D97-AF65-F5344CB8AC3E}">
        <p14:creationId xmlns:p14="http://schemas.microsoft.com/office/powerpoint/2010/main" val="34353110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2F98C44-3475-943A-6AE5-582DBB282A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616EA677-0039-ACC5-355D-DE455139F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6486"/>
            <a:ext cx="10515600" cy="878884"/>
          </a:xfrm>
        </p:spPr>
        <p:txBody>
          <a:bodyPr/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ВИДЫ</a:t>
            </a:r>
            <a:r>
              <a:rPr lang="ru-RU" sz="2400" b="0" dirty="0">
                <a:latin typeface="+mj-lt"/>
              </a:rPr>
              <a:t>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НЕКОНСТРУКТИВНОГО МЫШЛЕНИЯ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150FA8-074B-0C51-A301-52AA9EF49ECC}"/>
              </a:ext>
            </a:extLst>
          </p:cNvPr>
          <p:cNvSpPr txBox="1"/>
          <p:nvPr/>
        </p:nvSpPr>
        <p:spPr bwMode="gray">
          <a:xfrm>
            <a:off x="304800" y="1585813"/>
            <a:ext cx="11499273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ЛИШКОМ СУБЪЕКТИВНОЕ – вы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гнорирует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чевидно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держась за свои собственные «факты». Вы используете свои чувства в качестве «доказательства чего-либо», предсказываете будущее,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угадывает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чужие мотивы (не утруждаясь проверкой) и действуете исходя из суеверий и слухов. Вы недооцениваете вероятные события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ЗЛИШНЕ ЛЕГКОМЫСЛЕННОЕ– вы убеждаете себя, что проблемы не существует или что отдельные вещи не имеют для вас никакого значения (тогда как в действительности имеют). Вы также может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трицать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себе сильные или негативные чувства, приукрашивая окружающую действительность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ЗЛИШНЕ ТРЕБОВАТЕЛЬНОЕ – вы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ребует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от вещей быть такими, какими вы их хотите видеть, – ваши собственные качества и поведение, поведение других людей, течение вашей жизни. Вы пользуетесь словами «должен», «обязан». Вы подвергаете себя огромным страданиям, придерживаясь столь  жестких правил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ЛИШКОМ ОРИЕНТИРОВАННОЕ НА КОМФОРТ – ваше мышление постоянно ищет, как бы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збежать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боли и с ходу получить желаемое. Ваше мышление прибегает к таким построениям, как «слишком тяжело», «мне нужно это прямо сейчас», «я этого не выдержу»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984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38C1D47E-77FB-8851-0D1B-865F3262C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48357"/>
            <a:ext cx="10515600" cy="878884"/>
          </a:xfrm>
        </p:spPr>
        <p:txBody>
          <a:bodyPr/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БУДИЛЬНИК</a:t>
            </a:r>
            <a:r>
              <a:rPr lang="ru-RU" sz="3200" b="0" dirty="0">
                <a:latin typeface="+mj-lt"/>
              </a:rPr>
              <a:t>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B2F6778-33E1-7CD1-3EA5-D12B45F0531A}"/>
              </a:ext>
            </a:extLst>
          </p:cNvPr>
          <p:cNvSpPr/>
          <p:nvPr/>
        </p:nvSpPr>
        <p:spPr>
          <a:xfrm>
            <a:off x="594466" y="1841200"/>
            <a:ext cx="950090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строить таймер на каждые 30 минут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вонит будильник, ответить письменно 3 вопроса: что я делаю, о чем я думаю, как эта мысль влияет на мою жизнь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ести дневник наблюдений минимум – 3 дня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делать выводы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A23BBB-E5F0-848F-B7F2-B7E7292934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256" y="3780192"/>
            <a:ext cx="2088232" cy="2217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800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70290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9BD6ACC-9739-9E45-A2E5-5535FB57A19F}"/>
              </a:ext>
            </a:extLst>
          </p:cNvPr>
          <p:cNvGrpSpPr/>
          <p:nvPr/>
        </p:nvGrpSpPr>
        <p:grpSpPr>
          <a:xfrm>
            <a:off x="496357" y="793182"/>
            <a:ext cx="11079363" cy="5154013"/>
            <a:chOff x="53065" y="847824"/>
            <a:chExt cx="10819534" cy="5033139"/>
          </a:xfrm>
        </p:grpSpPr>
        <p:pic>
          <p:nvPicPr>
            <p:cNvPr id="9" name="object 4">
              <a:extLst>
                <a:ext uri="{FF2B5EF4-FFF2-40B4-BE49-F238E27FC236}">
                  <a16:creationId xmlns:a16="http://schemas.microsoft.com/office/drawing/2014/main" id="{E226E541-C377-A844-B388-E8EDCBA8CA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48733" y="1266102"/>
              <a:ext cx="5917003" cy="4614861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1200F77-6CFB-034D-AFDB-3B52FE461A42}"/>
                </a:ext>
              </a:extLst>
            </p:cNvPr>
            <p:cNvGrpSpPr/>
            <p:nvPr/>
          </p:nvGrpSpPr>
          <p:grpSpPr>
            <a:xfrm>
              <a:off x="53065" y="847824"/>
              <a:ext cx="10819534" cy="3855730"/>
              <a:chOff x="53065" y="847824"/>
              <a:chExt cx="10819534" cy="3855730"/>
            </a:xfrm>
          </p:grpSpPr>
          <p:sp>
            <p:nvSpPr>
              <p:cNvPr id="11" name="Title 1">
                <a:extLst>
                  <a:ext uri="{FF2B5EF4-FFF2-40B4-BE49-F238E27FC236}">
                    <a16:creationId xmlns:a16="http://schemas.microsoft.com/office/drawing/2014/main" id="{9669EB54-DD8F-D549-A566-216147B257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32714" y="1498518"/>
                <a:ext cx="3749040" cy="262891"/>
              </a:xfrm>
              <a:prstGeom prst="rect">
                <a:avLst/>
              </a:prstGeom>
            </p:spPr>
            <p:txBody>
              <a:bodyPr anchor="t">
                <a:noAutofit/>
              </a:bodyPr>
              <a:lstStyle>
                <a:lvl1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1pPr>
                <a:lvl2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2pPr>
                <a:lvl3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3pPr>
                <a:lvl4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4pPr>
                <a:lvl5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5pPr>
                <a:lvl6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6pPr>
                <a:lvl7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7pPr>
                <a:lvl8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8pPr>
                <a:lvl9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6861F"/>
                    </a:solidFill>
                    <a:effectLst/>
                    <a:uLnTx/>
                    <a:uFillTx/>
                    <a:latin typeface="Verdana"/>
                    <a:ea typeface="Verdana"/>
                    <a:cs typeface="Verdana"/>
                    <a:sym typeface="Verdana"/>
                  </a:rPr>
                  <a:t>ЛИДЕРСТВО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6861F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" name="object 17">
                <a:extLst>
                  <a:ext uri="{FF2B5EF4-FFF2-40B4-BE49-F238E27FC236}">
                    <a16:creationId xmlns:a16="http://schemas.microsoft.com/office/drawing/2014/main" id="{9B176810-B2CD-3C44-A0F7-3A50F8E65C03}"/>
                  </a:ext>
                </a:extLst>
              </p:cNvPr>
              <p:cNvSpPr txBox="1"/>
              <p:nvPr/>
            </p:nvSpPr>
            <p:spPr>
              <a:xfrm>
                <a:off x="7729763" y="1266102"/>
                <a:ext cx="3142836" cy="82403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формировать здоровое восприятие происходящих событий</a:t>
                </a:r>
                <a:endPara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object 18">
                <a:extLst>
                  <a:ext uri="{FF2B5EF4-FFF2-40B4-BE49-F238E27FC236}">
                    <a16:creationId xmlns:a16="http://schemas.microsoft.com/office/drawing/2014/main" id="{88C8D730-9D7C-944D-84DA-9A5426A659FA}"/>
                  </a:ext>
                </a:extLst>
              </p:cNvPr>
              <p:cNvSpPr txBox="1"/>
              <p:nvPr/>
            </p:nvSpPr>
            <p:spPr>
              <a:xfrm>
                <a:off x="7729763" y="3567507"/>
                <a:ext cx="2937659" cy="826411"/>
              </a:xfrm>
              <a:prstGeom prst="rect">
                <a:avLst/>
              </a:prstGeom>
            </p:spPr>
            <p:txBody>
              <a:bodyPr vert="horz" wrap="square" lIns="0" tIns="11431" rIns="0" bIns="0" rtlCol="0">
                <a:spAutoFit/>
              </a:bodyPr>
              <a:lstStyle/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знать собственную значимость </a:t>
                </a:r>
              </a:p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object 19">
                <a:extLst>
                  <a:ext uri="{FF2B5EF4-FFF2-40B4-BE49-F238E27FC236}">
                    <a16:creationId xmlns:a16="http://schemas.microsoft.com/office/drawing/2014/main" id="{90A5B0DE-23AD-564D-87F6-894C4E0B1881}"/>
                  </a:ext>
                </a:extLst>
              </p:cNvPr>
              <p:cNvSpPr txBox="1"/>
              <p:nvPr/>
            </p:nvSpPr>
            <p:spPr>
              <a:xfrm>
                <a:off x="53065" y="847824"/>
                <a:ext cx="2937659" cy="83655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Вернуть ясность и контроль над ситуацией  </a:t>
                </a:r>
                <a:endParaRPr kumimoji="0" lang="en" sz="1800" b="0" i="0" u="none" strike="noStrike" kern="1200" cap="none" spc="-5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object 20">
                <a:extLst>
                  <a:ext uri="{FF2B5EF4-FFF2-40B4-BE49-F238E27FC236}">
                    <a16:creationId xmlns:a16="http://schemas.microsoft.com/office/drawing/2014/main" id="{0591D366-0C43-254F-BCD5-40383AC9BD2B}"/>
                  </a:ext>
                </a:extLst>
              </p:cNvPr>
              <p:cNvSpPr txBox="1"/>
              <p:nvPr/>
            </p:nvSpPr>
            <p:spPr>
              <a:xfrm>
                <a:off x="67635" y="3313471"/>
                <a:ext cx="2937659" cy="139008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ддерживать доверительные отношения  с людьми</a:t>
                </a:r>
              </a:p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0" name="Объект 2">
            <a:extLst>
              <a:ext uri="{FF2B5EF4-FFF2-40B4-BE49-F238E27FC236}">
                <a16:creationId xmlns:a16="http://schemas.microsoft.com/office/drawing/2014/main" id="{2D7394D1-6B8A-7E4B-8B64-193DBFF00219}"/>
              </a:ext>
            </a:extLst>
          </p:cNvPr>
          <p:cNvSpPr txBox="1">
            <a:spLocks/>
          </p:cNvSpPr>
          <p:nvPr/>
        </p:nvSpPr>
        <p:spPr>
          <a:xfrm>
            <a:off x="293294" y="2278196"/>
            <a:ext cx="3839072" cy="1738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ействовать через «яркие» пят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Искусство маленьких шагов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E8574DF6-4F72-4F48-A275-F37E7E65C13A}"/>
              </a:ext>
            </a:extLst>
          </p:cNvPr>
          <p:cNvSpPr txBox="1">
            <a:spLocks/>
          </p:cNvSpPr>
          <p:nvPr/>
        </p:nvSpPr>
        <p:spPr>
          <a:xfrm>
            <a:off x="8244428" y="2401794"/>
            <a:ext cx="3926496" cy="74557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Определить круг влия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/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 круг беспокойств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истанцироваться перед принятием решения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Zoom Ou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6D32A9EE-5DC8-6949-9509-ACDC9550F776}"/>
              </a:ext>
            </a:extLst>
          </p:cNvPr>
          <p:cNvSpPr txBox="1">
            <a:spLocks/>
          </p:cNvSpPr>
          <p:nvPr/>
        </p:nvSpPr>
        <p:spPr>
          <a:xfrm>
            <a:off x="280153" y="4717190"/>
            <a:ext cx="4097294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благодарить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слышать людей: эмпатия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12246A2C-F393-FB4C-88E4-829B554EC282}"/>
              </a:ext>
            </a:extLst>
          </p:cNvPr>
          <p:cNvSpPr txBox="1">
            <a:spLocks/>
          </p:cNvSpPr>
          <p:nvPr/>
        </p:nvSpPr>
        <p:spPr>
          <a:xfrm>
            <a:off x="8270362" y="4230702"/>
            <a:ext cx="3662562" cy="140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Знать свои ценности и действовать в соответствии с ценностями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правлять собственным мышлением  </a:t>
            </a:r>
          </a:p>
        </p:txBody>
      </p:sp>
    </p:spTree>
    <p:extLst>
      <p:ext uri="{BB962C8B-B14F-4D97-AF65-F5344CB8AC3E}">
        <p14:creationId xmlns:p14="http://schemas.microsoft.com/office/powerpoint/2010/main" val="31225332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228CE0-D6C9-DF44-9355-063B7579C5C1}"/>
              </a:ext>
            </a:extLst>
          </p:cNvPr>
          <p:cNvSpPr txBox="1">
            <a:spLocks/>
          </p:cNvSpPr>
          <p:nvPr/>
        </p:nvSpPr>
        <p:spPr>
          <a:xfrm>
            <a:off x="365762" y="1280162"/>
            <a:ext cx="11124399" cy="395598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1pPr>
            <a:lvl2pPr marL="179999" marR="0" indent="-179999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2pPr>
            <a:lvl3pPr marL="359999" marR="0" indent="-179999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3pPr>
            <a:lvl4pPr marL="538162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4pPr>
            <a:lvl5pPr marL="720725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5pPr>
            <a:lvl6pPr marL="719999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6pPr>
            <a:lvl7pPr marL="719999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7pPr>
            <a:lvl8pPr marL="719999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8pPr>
            <a:lvl9pPr marL="719999" marR="0" indent="-180000" algn="l" defTabSz="91440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Verdana"/>
              <a:cs typeface="Calibri" panose="020F0502020204030204" pitchFamily="34" charset="0"/>
              <a:sym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ПРАКТИКА ЦЕНТРИРОВАНИ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 означает ”я снижаю свой уровень стрессового отклика, уровень кортизола». Задача – нормально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функционировать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Verdana"/>
              <a:cs typeface="Calibri" panose="020F0502020204030204" pitchFamily="34" charset="0"/>
              <a:sym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- Устойчивая опор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- Вертикальность, устойчивость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- Расслабленная центральная линия, дыхание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- Включенное периферическое зрение 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/>
                <a:cs typeface="Calibri" panose="020F0502020204030204" pitchFamily="34" charset="0"/>
                <a:sym typeface="Verdana"/>
              </a:rPr>
              <a:t>Улыбка в сердц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Verdana"/>
              <a:cs typeface="Calibri" panose="020F0502020204030204" pitchFamily="34" charset="0"/>
              <a:sym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Verdana"/>
              <a:cs typeface="Calibri" panose="020F0502020204030204" pitchFamily="34" charset="0"/>
              <a:sym typeface="Verdana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77E7D9D-5C38-3C43-8E0D-A1420B45CFEE}"/>
              </a:ext>
            </a:extLst>
          </p:cNvPr>
          <p:cNvSpPr/>
          <p:nvPr/>
        </p:nvSpPr>
        <p:spPr>
          <a:xfrm>
            <a:off x="2309997" y="5390091"/>
            <a:ext cx="91801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entury Gothic" panose="020B0502020202020204" pitchFamily="34" charset="0"/>
                <a:cs typeface="Calibri" panose="020F0502020204030204" pitchFamily="34" charset="0"/>
              </a:rPr>
              <a:t>Материал подготовлен на основе материала курса «Тело – в дело»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entury Gothic" panose="020B0502020202020204" pitchFamily="34" charset="0"/>
                <a:cs typeface="Calibri" panose="020F0502020204030204" pitchFamily="34" charset="0"/>
              </a:rPr>
              <a:t>Embodiment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entury Gothic" panose="020B0502020202020204" pitchFamily="34" charset="0"/>
                <a:cs typeface="Calibri" panose="020F0502020204030204" pitchFamily="34" charset="0"/>
              </a:rPr>
              <a:t>Александра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entury Gothic" panose="020B0502020202020204" pitchFamily="34" charset="0"/>
                <a:cs typeface="Calibri" panose="020F0502020204030204" pitchFamily="34" charset="0"/>
              </a:rPr>
              <a:t>Вильвовска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entury Gothic" panose="020B0502020202020204" pitchFamily="34" charset="0"/>
                <a:cs typeface="Calibri" panose="020F0502020204030204" pitchFamily="34" charset="0"/>
              </a:rPr>
              <a:t>  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Заголовок 9">
            <a:extLst>
              <a:ext uri="{FF2B5EF4-FFF2-40B4-BE49-F238E27FC236}">
                <a16:creationId xmlns:a16="http://schemas.microsoft.com/office/drawing/2014/main" id="{75E0013A-1FF6-2A47-9C75-EC42A26FE83F}"/>
              </a:ext>
            </a:extLst>
          </p:cNvPr>
          <p:cNvSpPr txBox="1">
            <a:spLocks/>
          </p:cNvSpPr>
          <p:nvPr/>
        </p:nvSpPr>
        <p:spPr>
          <a:xfrm>
            <a:off x="283817" y="774382"/>
            <a:ext cx="9848259" cy="816821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chemeClr val="tx2"/>
                </a:solidFill>
                <a:latin typeface="+mj-lt"/>
                <a:ea typeface="Arial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mbodiment</a:t>
            </a:r>
            <a:endParaRPr lang="ru-RU" sz="4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7053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FA83EBB-E964-93F3-C9F4-E8203CE1DA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7400" y="177800"/>
            <a:ext cx="2997200" cy="65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541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8B330C5C-04EE-A144-8D9E-4AE5D2B41F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193" y="1544158"/>
            <a:ext cx="8039993" cy="4541929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18FB7E-5A83-7645-9FFB-576265BA2133}"/>
              </a:ext>
            </a:extLst>
          </p:cNvPr>
          <p:cNvSpPr txBox="1">
            <a:spLocks/>
          </p:cNvSpPr>
          <p:nvPr/>
        </p:nvSpPr>
        <p:spPr>
          <a:xfrm>
            <a:off x="198196" y="108787"/>
            <a:ext cx="10189988" cy="1363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ЧТО ЭТО? </a:t>
            </a:r>
          </a:p>
        </p:txBody>
      </p:sp>
    </p:spTree>
    <p:extLst>
      <p:ext uri="{BB962C8B-B14F-4D97-AF65-F5344CB8AC3E}">
        <p14:creationId xmlns:p14="http://schemas.microsoft.com/office/powerpoint/2010/main" val="14931136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3EFB6D2-77D6-A44D-A058-D3E1840827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099" y="1887990"/>
            <a:ext cx="7583999" cy="42784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F96CF66-9759-CA42-BA65-EFEC541EA6C4}"/>
              </a:ext>
            </a:extLst>
          </p:cNvPr>
          <p:cNvSpPr txBox="1"/>
          <p:nvPr/>
        </p:nvSpPr>
        <p:spPr>
          <a:xfrm>
            <a:off x="532173" y="691589"/>
            <a:ext cx="9801850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algn="ctr" defTabSz="914377" hangingPunct="0"/>
            <a:r>
              <a:rPr lang="ru-RU" sz="3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Иногда мы слишком близко находимся к проблеме</a:t>
            </a: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3541797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D4A86F7-51BB-1845-971F-E8036485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96" y="108787"/>
            <a:ext cx="11241996" cy="1363328"/>
          </a:xfrm>
        </p:spPr>
        <p:txBody>
          <a:bodyPr anchor="ctr">
            <a:noAutofit/>
          </a:bodyPr>
          <a:lstStyle/>
          <a:p>
            <a:r>
              <a:rPr lang="ru-RU" sz="3000" dirty="0">
                <a:latin typeface="Arial" panose="020B0604020202020204" pitchFamily="34" charset="0"/>
                <a:cs typeface="Arial" panose="020B0604020202020204" pitchFamily="34" charset="0"/>
              </a:rPr>
              <a:t>ДИСТАНЦИРОВАТЬСЯ ПЕРЕД ПРИНЯТИЕМ РЕШЕН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885F6C-E259-2BE0-20A6-40917033AB30}"/>
              </a:ext>
            </a:extLst>
          </p:cNvPr>
          <p:cNvSpPr txBox="1"/>
          <p:nvPr/>
        </p:nvSpPr>
        <p:spPr>
          <a:xfrm>
            <a:off x="641793" y="2047232"/>
            <a:ext cx="935664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latin typeface="+mn-lt"/>
              </a:rPr>
              <a:t>СТРАТЕГИЯ 10/10/10</a:t>
            </a:r>
          </a:p>
          <a:p>
            <a:r>
              <a:rPr lang="ru-RU" sz="2000" dirty="0">
                <a:latin typeface="+mn-lt"/>
              </a:rPr>
              <a:t>Для его использования мы должны рассмотреть свои решения в трех различных рамках. </a:t>
            </a:r>
          </a:p>
          <a:p>
            <a:pPr marL="171450" indent="-171450">
              <a:buFontTx/>
              <a:buChar char="-"/>
            </a:pPr>
            <a:r>
              <a:rPr lang="ru-RU" sz="2000" dirty="0">
                <a:latin typeface="+mn-lt"/>
              </a:rPr>
              <a:t>Как мы будем к ним относиться через 10 минут? </a:t>
            </a:r>
          </a:p>
          <a:p>
            <a:pPr marL="171450" indent="-171450">
              <a:buFontTx/>
              <a:buChar char="-"/>
            </a:pPr>
            <a:r>
              <a:rPr lang="ru-RU" sz="2000" dirty="0">
                <a:latin typeface="+mn-lt"/>
              </a:rPr>
              <a:t>А через 10 месяцев? </a:t>
            </a:r>
          </a:p>
          <a:p>
            <a:pPr marL="171450" indent="-171450">
              <a:buFontTx/>
              <a:buChar char="-"/>
            </a:pPr>
            <a:r>
              <a:rPr lang="ru-RU" sz="2000" dirty="0">
                <a:latin typeface="+mn-lt"/>
              </a:rPr>
              <a:t>А через 10 лет?</a:t>
            </a:r>
          </a:p>
          <a:p>
            <a:r>
              <a:rPr lang="ru-RU" sz="2000" dirty="0">
                <a:latin typeface="+mn-lt"/>
              </a:rPr>
              <a:t>Три временные рамки — элегантный способ заставить нас несколько дистанцироваться от своих решений. </a:t>
            </a:r>
          </a:p>
        </p:txBody>
      </p:sp>
    </p:spTree>
    <p:extLst>
      <p:ext uri="{BB962C8B-B14F-4D97-AF65-F5344CB8AC3E}">
        <p14:creationId xmlns:p14="http://schemas.microsoft.com/office/powerpoint/2010/main" val="4157603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18">
            <a:extLst>
              <a:ext uri="{FF2B5EF4-FFF2-40B4-BE49-F238E27FC236}">
                <a16:creationId xmlns:a16="http://schemas.microsoft.com/office/drawing/2014/main" id="{63F5877B-98C7-49DD-83AB-0F6F57CB6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Рисунок 3" descr="Изображение выглядит как человек, женщина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034C1DD9-373B-E51A-D069-BA9F862BE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1" b="5182"/>
          <a:stretch/>
        </p:blipFill>
        <p:spPr>
          <a:xfrm>
            <a:off x="7364078" y="-18"/>
            <a:ext cx="4827922" cy="6857999"/>
          </a:xfrm>
          <a:custGeom>
            <a:avLst/>
            <a:gdLst/>
            <a:ahLst/>
            <a:cxnLst/>
            <a:rect l="l" t="t" r="r" b="b"/>
            <a:pathLst>
              <a:path w="4827922" h="6858000">
                <a:moveTo>
                  <a:pt x="4441" y="0"/>
                </a:moveTo>
                <a:lnTo>
                  <a:pt x="4827922" y="0"/>
                </a:lnTo>
                <a:lnTo>
                  <a:pt x="4827922" y="6858000"/>
                </a:lnTo>
                <a:lnTo>
                  <a:pt x="0" y="6858000"/>
                </a:lnTo>
                <a:lnTo>
                  <a:pt x="106674" y="6638378"/>
                </a:lnTo>
                <a:cubicBezTo>
                  <a:pt x="530028" y="5720938"/>
                  <a:pt x="777229" y="4614948"/>
                  <a:pt x="777229" y="3424428"/>
                </a:cubicBezTo>
                <a:cubicBezTo>
                  <a:pt x="777229" y="2233909"/>
                  <a:pt x="530028" y="1127919"/>
                  <a:pt x="106674" y="210478"/>
                </a:cubicBezTo>
                <a:close/>
              </a:path>
            </a:pathLst>
          </a:cu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7EF6E4B-FD14-01B4-1C76-08C5BBB145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331" r="1" b="20803"/>
          <a:stretch/>
        </p:blipFill>
        <p:spPr>
          <a:xfrm>
            <a:off x="3119360" y="18"/>
            <a:ext cx="4966290" cy="6857999"/>
          </a:xfrm>
          <a:custGeom>
            <a:avLst/>
            <a:gdLst/>
            <a:ahLst/>
            <a:cxnLst/>
            <a:rect l="l" t="t" r="r" b="b"/>
            <a:pathLst>
              <a:path w="4966290" h="6857999">
                <a:moveTo>
                  <a:pt x="0" y="0"/>
                </a:moveTo>
                <a:lnTo>
                  <a:pt x="4188230" y="0"/>
                </a:lnTo>
                <a:lnTo>
                  <a:pt x="4295735" y="210478"/>
                </a:lnTo>
                <a:cubicBezTo>
                  <a:pt x="4719089" y="1127919"/>
                  <a:pt x="4966290" y="2233909"/>
                  <a:pt x="4966290" y="3424428"/>
                </a:cubicBezTo>
                <a:cubicBezTo>
                  <a:pt x="4966290" y="4614948"/>
                  <a:pt x="4719089" y="5720938"/>
                  <a:pt x="4295735" y="6638378"/>
                </a:cubicBezTo>
                <a:lnTo>
                  <a:pt x="4183560" y="6857999"/>
                </a:lnTo>
                <a:lnTo>
                  <a:pt x="53039" y="6857999"/>
                </a:lnTo>
                <a:lnTo>
                  <a:pt x="132047" y="6695338"/>
                </a:lnTo>
                <a:cubicBezTo>
                  <a:pt x="555401" y="5777898"/>
                  <a:pt x="802602" y="4671908"/>
                  <a:pt x="802602" y="3481388"/>
                </a:cubicBezTo>
                <a:cubicBezTo>
                  <a:pt x="802602" y="2191659"/>
                  <a:pt x="512484" y="1001134"/>
                  <a:pt x="22579" y="42066"/>
                </a:cubicBezTo>
                <a:close/>
              </a:path>
            </a:pathLst>
          </a:custGeom>
        </p:spPr>
      </p:pic>
      <p:sp useBgFill="1">
        <p:nvSpPr>
          <p:cNvPr id="35" name="Freeform: Shape 20">
            <a:extLst>
              <a:ext uri="{FF2B5EF4-FFF2-40B4-BE49-F238E27FC236}">
                <a16:creationId xmlns:a16="http://schemas.microsoft.com/office/drawing/2014/main" id="{4EA91930-66BC-4C41-B4F5-C31EB216F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45815" cy="6858000"/>
          </a:xfrm>
          <a:custGeom>
            <a:avLst/>
            <a:gdLst>
              <a:gd name="connsiteX0" fmla="*/ 0 w 3945815"/>
              <a:gd name="connsiteY0" fmla="*/ 0 h 6858000"/>
              <a:gd name="connsiteX1" fmla="*/ 3138662 w 3945815"/>
              <a:gd name="connsiteY1" fmla="*/ 0 h 6858000"/>
              <a:gd name="connsiteX2" fmla="*/ 3275260 w 3945815"/>
              <a:gd name="connsiteY2" fmla="*/ 267438 h 6858000"/>
              <a:gd name="connsiteX3" fmla="*/ 3945815 w 3945815"/>
              <a:gd name="connsiteY3" fmla="*/ 3481388 h 6858000"/>
              <a:gd name="connsiteX4" fmla="*/ 3275260 w 3945815"/>
              <a:gd name="connsiteY4" fmla="*/ 6695338 h 6858000"/>
              <a:gd name="connsiteX5" fmla="*/ 3192177 w 3945815"/>
              <a:gd name="connsiteY5" fmla="*/ 6858000 h 6858000"/>
              <a:gd name="connsiteX6" fmla="*/ 0 w 394581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45815" h="6858000">
                <a:moveTo>
                  <a:pt x="0" y="0"/>
                </a:moveTo>
                <a:lnTo>
                  <a:pt x="3138662" y="0"/>
                </a:lnTo>
                <a:lnTo>
                  <a:pt x="3275260" y="267438"/>
                </a:lnTo>
                <a:cubicBezTo>
                  <a:pt x="3698614" y="1184879"/>
                  <a:pt x="3945815" y="2290869"/>
                  <a:pt x="3945815" y="3481388"/>
                </a:cubicBezTo>
                <a:cubicBezTo>
                  <a:pt x="3945815" y="4671908"/>
                  <a:pt x="3698614" y="5777898"/>
                  <a:pt x="3275260" y="6695338"/>
                </a:cubicBezTo>
                <a:lnTo>
                  <a:pt x="319217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6313CF8F-B436-401E-9575-DE0F8E8B5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36670" cy="6858000"/>
          </a:xfrm>
          <a:custGeom>
            <a:avLst/>
            <a:gdLst>
              <a:gd name="connsiteX0" fmla="*/ 0 w 3936670"/>
              <a:gd name="connsiteY0" fmla="*/ 0 h 6858000"/>
              <a:gd name="connsiteX1" fmla="*/ 3129517 w 3936670"/>
              <a:gd name="connsiteY1" fmla="*/ 0 h 6858000"/>
              <a:gd name="connsiteX2" fmla="*/ 3266115 w 3936670"/>
              <a:gd name="connsiteY2" fmla="*/ 267438 h 6858000"/>
              <a:gd name="connsiteX3" fmla="*/ 3936670 w 3936670"/>
              <a:gd name="connsiteY3" fmla="*/ 3481388 h 6858000"/>
              <a:gd name="connsiteX4" fmla="*/ 3266115 w 3936670"/>
              <a:gd name="connsiteY4" fmla="*/ 6695338 h 6858000"/>
              <a:gd name="connsiteX5" fmla="*/ 3183032 w 3936670"/>
              <a:gd name="connsiteY5" fmla="*/ 6858000 h 6858000"/>
              <a:gd name="connsiteX6" fmla="*/ 0 w 39366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36670" h="6858000">
                <a:moveTo>
                  <a:pt x="0" y="0"/>
                </a:moveTo>
                <a:lnTo>
                  <a:pt x="3129517" y="0"/>
                </a:lnTo>
                <a:lnTo>
                  <a:pt x="3266115" y="267438"/>
                </a:lnTo>
                <a:cubicBezTo>
                  <a:pt x="3689469" y="1184879"/>
                  <a:pt x="3936670" y="2290869"/>
                  <a:pt x="3936670" y="3481388"/>
                </a:cubicBezTo>
                <a:cubicBezTo>
                  <a:pt x="3936670" y="4671908"/>
                  <a:pt x="3689469" y="5777898"/>
                  <a:pt x="3266115" y="6695338"/>
                </a:cubicBezTo>
                <a:lnTo>
                  <a:pt x="3183032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8CFE9-C30A-4551-ACCB-D5808FBC3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016867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EF550F-47CE-4FB2-9DAC-12AD835C83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2" y="2089941"/>
            <a:ext cx="2834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5DEBE-3942-BD85-F6E7-3F3077DE92A2}"/>
              </a:ext>
            </a:extLst>
          </p:cNvPr>
          <p:cNvSpPr txBox="1"/>
          <p:nvPr/>
        </p:nvSpPr>
        <p:spPr>
          <a:xfrm>
            <a:off x="448056" y="2258171"/>
            <a:ext cx="2804504" cy="3918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Управляющий партнёр консалтинговой компании "Запросто. Учим и коучим" 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15+ лет опыта </a:t>
            </a:r>
            <a:r>
              <a:rPr lang="en-US" sz="1500" dirty="0" err="1"/>
              <a:t>в</a:t>
            </a:r>
            <a:r>
              <a:rPr lang="en-US" sz="1500" dirty="0"/>
              <a:t> обучении и развитии персонала </a:t>
            </a:r>
            <a:r>
              <a:rPr lang="en-US" sz="1500" dirty="0" err="1"/>
              <a:t>в</a:t>
            </a:r>
            <a:r>
              <a:rPr lang="en-US" sz="1500" dirty="0"/>
              <a:t> российских и западных компаниях 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Профессиональный андрогог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Сертифицированный специалист: Coach2®, Insights®, MBTI®, DISC®, Have a nice conflict®, </a:t>
            </a:r>
            <a:r>
              <a:rPr lang="en-US" sz="1500" dirty="0" err="1"/>
              <a:t>TalentQ</a:t>
            </a:r>
            <a:r>
              <a:rPr lang="en-US" sz="1500" dirty="0"/>
              <a:t>®, Situational Leadership®, EQ® и </a:t>
            </a:r>
            <a:r>
              <a:rPr lang="en-US" sz="1500" dirty="0" err="1"/>
              <a:t>т.д</a:t>
            </a:r>
            <a:r>
              <a:rPr lang="en-US" sz="15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96528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6CF535-EEBA-DE44-824E-17AE5F521772}"/>
              </a:ext>
            </a:extLst>
          </p:cNvPr>
          <p:cNvGrpSpPr/>
          <p:nvPr/>
        </p:nvGrpSpPr>
        <p:grpSpPr>
          <a:xfrm>
            <a:off x="0" y="0"/>
            <a:ext cx="12187318" cy="6858000"/>
            <a:chOff x="2341" y="-2381"/>
            <a:chExt cx="12187318" cy="6858000"/>
          </a:xfrm>
          <a:solidFill>
            <a:schemeClr val="accent1"/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48E3159-EF65-EF4C-B8ED-0841B6A56999}"/>
                </a:ext>
              </a:extLst>
            </p:cNvPr>
            <p:cNvSpPr/>
            <p:nvPr/>
          </p:nvSpPr>
          <p:spPr>
            <a:xfrm>
              <a:off x="10684709" y="-2381"/>
              <a:ext cx="150495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4BC5E88-0319-374A-9EBD-60C4E4240650}"/>
                </a:ext>
              </a:extLst>
            </p:cNvPr>
            <p:cNvSpPr/>
            <p:nvPr/>
          </p:nvSpPr>
          <p:spPr>
            <a:xfrm>
              <a:off x="2341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4A65DEF-9321-2549-A7C8-B0F9DDBF88B2}"/>
                </a:ext>
              </a:extLst>
            </p:cNvPr>
            <p:cNvSpPr/>
            <p:nvPr/>
          </p:nvSpPr>
          <p:spPr>
            <a:xfrm>
              <a:off x="267833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DC161D7-F349-2444-9A6E-1D09C6F5B425}"/>
                </a:ext>
              </a:extLst>
            </p:cNvPr>
            <p:cNvSpPr/>
            <p:nvPr/>
          </p:nvSpPr>
          <p:spPr>
            <a:xfrm>
              <a:off x="521895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Объект 2">
            <a:extLst>
              <a:ext uri="{FF2B5EF4-FFF2-40B4-BE49-F238E27FC236}">
                <a16:creationId xmlns:a16="http://schemas.microsoft.com/office/drawing/2014/main" id="{C070209B-791A-9B46-B408-728337E03C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1991" y="2434689"/>
            <a:ext cx="4588709" cy="3600132"/>
          </a:xfrm>
        </p:spPr>
        <p:txBody>
          <a:bodyPr anchor="ctr">
            <a:norm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ОМЕНТЫ 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Font typeface="Системный шрифт, обычный"/>
              <a:buChar char="–"/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ного вещей̆/событий занимает наше внимание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Font typeface="Системный шрифт, обычный"/>
              <a:buChar char="–"/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лючевое – это понимание того, на что возможно/невозможно влиять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Font typeface="Системный шрифт, обычный"/>
              <a:buChar char="–"/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сознание событий из круга забот дает возможность сфокусироваться на том, что нам подвластно </a:t>
            </a:r>
          </a:p>
          <a:p>
            <a:pPr marL="0" indent="0">
              <a:buNone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04A96B1-78CB-E54C-BA2B-30C4BC76DADA}"/>
              </a:ext>
            </a:extLst>
          </p:cNvPr>
          <p:cNvSpPr txBox="1">
            <a:spLocks/>
          </p:cNvSpPr>
          <p:nvPr/>
        </p:nvSpPr>
        <p:spPr>
          <a:xfrm>
            <a:off x="715409" y="1208533"/>
            <a:ext cx="9975182" cy="786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итуациях давления и вызова важно контролировать контролируемое 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7257506C-C110-4E49-88E7-011E5ABA4E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610" y="2434689"/>
            <a:ext cx="4163827" cy="3600132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27EACFA-DB5B-5C4F-B83C-26228BE0BA37}"/>
              </a:ext>
            </a:extLst>
          </p:cNvPr>
          <p:cNvSpPr/>
          <p:nvPr/>
        </p:nvSpPr>
        <p:spPr>
          <a:xfrm>
            <a:off x="1226786" y="2417065"/>
            <a:ext cx="4155651" cy="3617756"/>
          </a:xfrm>
          <a:prstGeom prst="rect">
            <a:avLst/>
          </a:prstGeom>
          <a:solidFill>
            <a:schemeClr val="accent1">
              <a:alpha val="86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CF98E251-8FBD-AD01-BBBB-0F9ABBB03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27" y="202257"/>
            <a:ext cx="12332599" cy="1006276"/>
          </a:xfrm>
        </p:spPr>
        <p:txBody>
          <a:bodyPr anchor="ctr">
            <a:no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КРУГ ВЛИЯНИЯ И КРУГ БЕСПОКОЙСТВА  </a:t>
            </a:r>
          </a:p>
        </p:txBody>
      </p:sp>
    </p:spTree>
    <p:extLst>
      <p:ext uri="{BB962C8B-B14F-4D97-AF65-F5344CB8AC3E}">
        <p14:creationId xmlns:p14="http://schemas.microsoft.com/office/powerpoint/2010/main" val="4280823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70290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9BD6ACC-9739-9E45-A2E5-5535FB57A19F}"/>
              </a:ext>
            </a:extLst>
          </p:cNvPr>
          <p:cNvGrpSpPr/>
          <p:nvPr/>
        </p:nvGrpSpPr>
        <p:grpSpPr>
          <a:xfrm>
            <a:off x="496357" y="793182"/>
            <a:ext cx="11079363" cy="5154013"/>
            <a:chOff x="53065" y="847824"/>
            <a:chExt cx="10819534" cy="5033139"/>
          </a:xfrm>
        </p:grpSpPr>
        <p:pic>
          <p:nvPicPr>
            <p:cNvPr id="9" name="object 4">
              <a:extLst>
                <a:ext uri="{FF2B5EF4-FFF2-40B4-BE49-F238E27FC236}">
                  <a16:creationId xmlns:a16="http://schemas.microsoft.com/office/drawing/2014/main" id="{E226E541-C377-A844-B388-E8EDCBA8CA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48733" y="1266102"/>
              <a:ext cx="5917003" cy="4614861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1200F77-6CFB-034D-AFDB-3B52FE461A42}"/>
                </a:ext>
              </a:extLst>
            </p:cNvPr>
            <p:cNvGrpSpPr/>
            <p:nvPr/>
          </p:nvGrpSpPr>
          <p:grpSpPr>
            <a:xfrm>
              <a:off x="53065" y="847824"/>
              <a:ext cx="10819534" cy="3855730"/>
              <a:chOff x="53065" y="847824"/>
              <a:chExt cx="10819534" cy="3855730"/>
            </a:xfrm>
          </p:grpSpPr>
          <p:sp>
            <p:nvSpPr>
              <p:cNvPr id="11" name="Title 1">
                <a:extLst>
                  <a:ext uri="{FF2B5EF4-FFF2-40B4-BE49-F238E27FC236}">
                    <a16:creationId xmlns:a16="http://schemas.microsoft.com/office/drawing/2014/main" id="{9669EB54-DD8F-D549-A566-216147B257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32714" y="1498518"/>
                <a:ext cx="3749040" cy="262891"/>
              </a:xfrm>
              <a:prstGeom prst="rect">
                <a:avLst/>
              </a:prstGeom>
            </p:spPr>
            <p:txBody>
              <a:bodyPr anchor="t">
                <a:noAutofit/>
              </a:bodyPr>
              <a:lstStyle>
                <a:lvl1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1pPr>
                <a:lvl2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2pPr>
                <a:lvl3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3pPr>
                <a:lvl4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4pPr>
                <a:lvl5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5pPr>
                <a:lvl6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6pPr>
                <a:lvl7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7pPr>
                <a:lvl8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8pPr>
                <a:lvl9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6861F"/>
                    </a:solidFill>
                    <a:effectLst/>
                    <a:uLnTx/>
                    <a:uFillTx/>
                    <a:latin typeface="Verdana"/>
                    <a:ea typeface="Verdana"/>
                    <a:cs typeface="Verdana"/>
                    <a:sym typeface="Verdana"/>
                  </a:rPr>
                  <a:t>ЛИДЕРСТВО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6861F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" name="object 17">
                <a:extLst>
                  <a:ext uri="{FF2B5EF4-FFF2-40B4-BE49-F238E27FC236}">
                    <a16:creationId xmlns:a16="http://schemas.microsoft.com/office/drawing/2014/main" id="{9B176810-B2CD-3C44-A0F7-3A50F8E65C03}"/>
                  </a:ext>
                </a:extLst>
              </p:cNvPr>
              <p:cNvSpPr txBox="1"/>
              <p:nvPr/>
            </p:nvSpPr>
            <p:spPr>
              <a:xfrm>
                <a:off x="7729763" y="1266102"/>
                <a:ext cx="3142836" cy="82403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формировать здоровое восприятие происходящих событий</a:t>
                </a:r>
                <a:endPara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object 18">
                <a:extLst>
                  <a:ext uri="{FF2B5EF4-FFF2-40B4-BE49-F238E27FC236}">
                    <a16:creationId xmlns:a16="http://schemas.microsoft.com/office/drawing/2014/main" id="{88C8D730-9D7C-944D-84DA-9A5426A659FA}"/>
                  </a:ext>
                </a:extLst>
              </p:cNvPr>
              <p:cNvSpPr txBox="1"/>
              <p:nvPr/>
            </p:nvSpPr>
            <p:spPr>
              <a:xfrm>
                <a:off x="7729763" y="3567507"/>
                <a:ext cx="2937659" cy="826411"/>
              </a:xfrm>
              <a:prstGeom prst="rect">
                <a:avLst/>
              </a:prstGeom>
            </p:spPr>
            <p:txBody>
              <a:bodyPr vert="horz" wrap="square" lIns="0" tIns="11431" rIns="0" bIns="0" rtlCol="0">
                <a:spAutoFit/>
              </a:bodyPr>
              <a:lstStyle/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знать собственную значимость </a:t>
                </a:r>
              </a:p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object 19">
                <a:extLst>
                  <a:ext uri="{FF2B5EF4-FFF2-40B4-BE49-F238E27FC236}">
                    <a16:creationId xmlns:a16="http://schemas.microsoft.com/office/drawing/2014/main" id="{90A5B0DE-23AD-564D-87F6-894C4E0B1881}"/>
                  </a:ext>
                </a:extLst>
              </p:cNvPr>
              <p:cNvSpPr txBox="1"/>
              <p:nvPr/>
            </p:nvSpPr>
            <p:spPr>
              <a:xfrm>
                <a:off x="53065" y="847824"/>
                <a:ext cx="2937659" cy="83655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Вернуть ясность и контроль над ситуацией  </a:t>
                </a:r>
                <a:endParaRPr kumimoji="0" lang="en" sz="1800" b="0" i="0" u="none" strike="noStrike" kern="1200" cap="none" spc="-5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object 20">
                <a:extLst>
                  <a:ext uri="{FF2B5EF4-FFF2-40B4-BE49-F238E27FC236}">
                    <a16:creationId xmlns:a16="http://schemas.microsoft.com/office/drawing/2014/main" id="{0591D366-0C43-254F-BCD5-40383AC9BD2B}"/>
                  </a:ext>
                </a:extLst>
              </p:cNvPr>
              <p:cNvSpPr txBox="1"/>
              <p:nvPr/>
            </p:nvSpPr>
            <p:spPr>
              <a:xfrm>
                <a:off x="67635" y="3313471"/>
                <a:ext cx="2937659" cy="139008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ддерживать доверительные отношения  с людьми</a:t>
                </a:r>
              </a:p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0" name="Объект 2">
            <a:extLst>
              <a:ext uri="{FF2B5EF4-FFF2-40B4-BE49-F238E27FC236}">
                <a16:creationId xmlns:a16="http://schemas.microsoft.com/office/drawing/2014/main" id="{2D7394D1-6B8A-7E4B-8B64-193DBFF00219}"/>
              </a:ext>
            </a:extLst>
          </p:cNvPr>
          <p:cNvSpPr txBox="1">
            <a:spLocks/>
          </p:cNvSpPr>
          <p:nvPr/>
        </p:nvSpPr>
        <p:spPr>
          <a:xfrm>
            <a:off x="293294" y="2278196"/>
            <a:ext cx="3839072" cy="1738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ействовать через «яркие» пят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Искусство маленьких шагов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E8574DF6-4F72-4F48-A275-F37E7E65C13A}"/>
              </a:ext>
            </a:extLst>
          </p:cNvPr>
          <p:cNvSpPr txBox="1">
            <a:spLocks/>
          </p:cNvSpPr>
          <p:nvPr/>
        </p:nvSpPr>
        <p:spPr>
          <a:xfrm>
            <a:off x="8244428" y="2401794"/>
            <a:ext cx="3926496" cy="74557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Определить круг влия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/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 круг беспокойств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истанцироваться перед принятием решения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Zoom Ou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6D32A9EE-5DC8-6949-9509-ACDC9550F776}"/>
              </a:ext>
            </a:extLst>
          </p:cNvPr>
          <p:cNvSpPr txBox="1">
            <a:spLocks/>
          </p:cNvSpPr>
          <p:nvPr/>
        </p:nvSpPr>
        <p:spPr>
          <a:xfrm>
            <a:off x="280153" y="4717190"/>
            <a:ext cx="4097294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благодарить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слышать людей: эмпатия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12246A2C-F393-FB4C-88E4-829B554EC282}"/>
              </a:ext>
            </a:extLst>
          </p:cNvPr>
          <p:cNvSpPr txBox="1">
            <a:spLocks/>
          </p:cNvSpPr>
          <p:nvPr/>
        </p:nvSpPr>
        <p:spPr>
          <a:xfrm>
            <a:off x="8270362" y="4230702"/>
            <a:ext cx="3662562" cy="140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Знать свои ценности и действовать в соответствии с ценностями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правлять собственным мышлением  </a:t>
            </a:r>
          </a:p>
        </p:txBody>
      </p:sp>
    </p:spTree>
    <p:extLst>
      <p:ext uri="{BB962C8B-B14F-4D97-AF65-F5344CB8AC3E}">
        <p14:creationId xmlns:p14="http://schemas.microsoft.com/office/powerpoint/2010/main" val="22166647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5666830-9A19-4E01-8505-D6C7F9AC5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Рисунок 4" descr="Изображение выглядит как человек, стена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14692AB8-4FEC-35F7-C38B-6692303E22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83" r="5933"/>
          <a:stretch/>
        </p:blipFill>
        <p:spPr>
          <a:xfrm>
            <a:off x="4110127" y="10"/>
            <a:ext cx="8081873" cy="6857990"/>
          </a:xfrm>
          <a:custGeom>
            <a:avLst/>
            <a:gdLst/>
            <a:ahLst/>
            <a:cxnLst/>
            <a:rect l="l" t="t" r="r" b="b"/>
            <a:pathLst>
              <a:path w="8081873" h="6858000">
                <a:moveTo>
                  <a:pt x="0" y="0"/>
                </a:moveTo>
                <a:lnTo>
                  <a:pt x="8081873" y="0"/>
                </a:lnTo>
                <a:lnTo>
                  <a:pt x="8081873" y="6858000"/>
                </a:lnTo>
                <a:lnTo>
                  <a:pt x="0" y="6858000"/>
                </a:lnTo>
                <a:lnTo>
                  <a:pt x="68897" y="6734633"/>
                </a:lnTo>
                <a:cubicBezTo>
                  <a:pt x="558802" y="5812845"/>
                  <a:pt x="848920" y="4668597"/>
                  <a:pt x="848920" y="3429000"/>
                </a:cubicBezTo>
                <a:cubicBezTo>
                  <a:pt x="848920" y="2189404"/>
                  <a:pt x="558802" y="1045156"/>
                  <a:pt x="68897" y="123368"/>
                </a:cubicBezTo>
                <a:close/>
              </a:path>
            </a:pathLst>
          </a:custGeom>
        </p:spPr>
      </p:pic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AE9FC877-7FB6-4D22-9988-35420644E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959047" cy="6858000"/>
          </a:xfrm>
          <a:custGeom>
            <a:avLst/>
            <a:gdLst>
              <a:gd name="connsiteX0" fmla="*/ 0 w 4959047"/>
              <a:gd name="connsiteY0" fmla="*/ 0 h 6858000"/>
              <a:gd name="connsiteX1" fmla="*/ 4110127 w 4959047"/>
              <a:gd name="connsiteY1" fmla="*/ 0 h 6858000"/>
              <a:gd name="connsiteX2" fmla="*/ 4179024 w 4959047"/>
              <a:gd name="connsiteY2" fmla="*/ 123368 h 6858000"/>
              <a:gd name="connsiteX3" fmla="*/ 4959047 w 4959047"/>
              <a:gd name="connsiteY3" fmla="*/ 3429000 h 6858000"/>
              <a:gd name="connsiteX4" fmla="*/ 4179024 w 4959047"/>
              <a:gd name="connsiteY4" fmla="*/ 6734633 h 6858000"/>
              <a:gd name="connsiteX5" fmla="*/ 4110127 w 4959047"/>
              <a:gd name="connsiteY5" fmla="*/ 6858000 h 6858000"/>
              <a:gd name="connsiteX6" fmla="*/ 0 w 495904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9047" h="6858000">
                <a:moveTo>
                  <a:pt x="0" y="0"/>
                </a:moveTo>
                <a:lnTo>
                  <a:pt x="4110127" y="0"/>
                </a:lnTo>
                <a:lnTo>
                  <a:pt x="4179024" y="123368"/>
                </a:lnTo>
                <a:cubicBezTo>
                  <a:pt x="4668929" y="1045156"/>
                  <a:pt x="4959047" y="2189404"/>
                  <a:pt x="4959047" y="3429000"/>
                </a:cubicBezTo>
                <a:cubicBezTo>
                  <a:pt x="4959047" y="4668597"/>
                  <a:pt x="4668929" y="5812845"/>
                  <a:pt x="4179024" y="6734633"/>
                </a:cubicBezTo>
                <a:lnTo>
                  <a:pt x="411012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E41809D1-F12E-46BB-B804-5F209D325E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948887" cy="6858000"/>
          </a:xfrm>
          <a:custGeom>
            <a:avLst/>
            <a:gdLst>
              <a:gd name="connsiteX0" fmla="*/ 0 w 4948887"/>
              <a:gd name="connsiteY0" fmla="*/ 0 h 6858000"/>
              <a:gd name="connsiteX1" fmla="*/ 4099967 w 4948887"/>
              <a:gd name="connsiteY1" fmla="*/ 0 h 6858000"/>
              <a:gd name="connsiteX2" fmla="*/ 4168864 w 4948887"/>
              <a:gd name="connsiteY2" fmla="*/ 123368 h 6858000"/>
              <a:gd name="connsiteX3" fmla="*/ 4948887 w 4948887"/>
              <a:gd name="connsiteY3" fmla="*/ 3429000 h 6858000"/>
              <a:gd name="connsiteX4" fmla="*/ 4168864 w 4948887"/>
              <a:gd name="connsiteY4" fmla="*/ 6734633 h 6858000"/>
              <a:gd name="connsiteX5" fmla="*/ 4099967 w 4948887"/>
              <a:gd name="connsiteY5" fmla="*/ 6858000 h 6858000"/>
              <a:gd name="connsiteX6" fmla="*/ 0 w 494888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48887" h="6858000">
                <a:moveTo>
                  <a:pt x="0" y="0"/>
                </a:moveTo>
                <a:lnTo>
                  <a:pt x="4099967" y="0"/>
                </a:lnTo>
                <a:lnTo>
                  <a:pt x="4168864" y="123368"/>
                </a:lnTo>
                <a:cubicBezTo>
                  <a:pt x="4658769" y="1045156"/>
                  <a:pt x="4948887" y="2189404"/>
                  <a:pt x="4948887" y="3429000"/>
                </a:cubicBezTo>
                <a:cubicBezTo>
                  <a:pt x="4948887" y="4668597"/>
                  <a:pt x="4658769" y="5812845"/>
                  <a:pt x="4168864" y="6734633"/>
                </a:cubicBezTo>
                <a:lnTo>
                  <a:pt x="4099967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31F02D87-0C0F-1F3A-209D-382D3DB15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1" y="1122363"/>
            <a:ext cx="4023360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z="4100" dirty="0"/>
              <a:t>«</a:t>
            </a:r>
            <a:r>
              <a:rPr lang="en-US" sz="4100" dirty="0"/>
              <a:t>СДЕЛАТЬ БЛАГОДАРНОСТЬ СМЫСЛОМ СВОЕЙ ЖИЗНИ</a:t>
            </a:r>
            <a:r>
              <a:rPr lang="ru-RU" sz="4100" dirty="0"/>
              <a:t>» </a:t>
            </a:r>
            <a:r>
              <a:rPr lang="ru-RU" sz="2000" dirty="0"/>
              <a:t>Марина Карловна Мазина</a:t>
            </a:r>
            <a:endParaRPr lang="en-US" sz="20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402336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86139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D4A86F7-51BB-1845-971F-E8036485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96" y="108787"/>
            <a:ext cx="11241996" cy="1363328"/>
          </a:xfrm>
        </p:spPr>
        <p:txBody>
          <a:bodyPr anchor="ctr"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ИЛА БЛАГОДАРНОСТИ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3FF5BA-5EBF-A6FF-EB9E-F1C434A6ABF5}"/>
              </a:ext>
            </a:extLst>
          </p:cNvPr>
          <p:cNvSpPr txBox="1"/>
          <p:nvPr/>
        </p:nvSpPr>
        <p:spPr>
          <a:xfrm>
            <a:off x="338908" y="1849001"/>
            <a:ext cx="9875194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следование С. К. Нартовой-</a:t>
            </a:r>
            <a:r>
              <a:rPr lang="ru-RU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чавера</a:t>
            </a:r>
            <a:r>
              <a:rPr lang="ru-RU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Г. К. Кислицы</a:t>
            </a:r>
          </a:p>
          <a:p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юди, сильнее </a:t>
            </a:r>
            <a:r>
              <a:rPr lang="ru-RU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живающие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лагодарность, демонстрируют более высокий уровень психологического благополучия</a:t>
            </a:r>
            <a:r>
              <a:rPr lang="ru-RU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наружена прямая зависимость: чем выше уровень благодарности, тем ниже все виды депрессивных проявлений и выше – самооценка и устойчивость. Благодарные люди склонны реже впадать в уныние, разрушать отношения с другими и «беспричинно» заболевать</a:t>
            </a:r>
          </a:p>
          <a:p>
            <a:pPr marL="285750" indent="-285750">
              <a:buFontTx/>
              <a:buChar char="-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.delendik.com/wp-content/uploads/2019/10/Test</a:t>
            </a:r>
          </a:p>
          <a:p>
            <a:pPr algn="ctr"/>
            <a:r>
              <a:rPr lang="ru-RU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Blagodarnost.pdf?ysclid=ldurc6pst2444214583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394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6CF535-EEBA-DE44-824E-17AE5F521772}"/>
              </a:ext>
            </a:extLst>
          </p:cNvPr>
          <p:cNvGrpSpPr/>
          <p:nvPr/>
        </p:nvGrpSpPr>
        <p:grpSpPr>
          <a:xfrm>
            <a:off x="2341" y="-2381"/>
            <a:ext cx="12187318" cy="6858000"/>
            <a:chOff x="2341" y="-2381"/>
            <a:chExt cx="12187318" cy="6858000"/>
          </a:xfrm>
          <a:solidFill>
            <a:schemeClr val="accent1"/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48E3159-EF65-EF4C-B8ED-0841B6A56999}"/>
                </a:ext>
              </a:extLst>
            </p:cNvPr>
            <p:cNvSpPr/>
            <p:nvPr/>
          </p:nvSpPr>
          <p:spPr>
            <a:xfrm>
              <a:off x="10684709" y="-2381"/>
              <a:ext cx="150495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4BC5E88-0319-374A-9EBD-60C4E4240650}"/>
                </a:ext>
              </a:extLst>
            </p:cNvPr>
            <p:cNvSpPr/>
            <p:nvPr/>
          </p:nvSpPr>
          <p:spPr>
            <a:xfrm>
              <a:off x="2341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4A65DEF-9321-2549-A7C8-B0F9DDBF88B2}"/>
                </a:ext>
              </a:extLst>
            </p:cNvPr>
            <p:cNvSpPr/>
            <p:nvPr/>
          </p:nvSpPr>
          <p:spPr>
            <a:xfrm>
              <a:off x="267833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DC161D7-F349-2444-9A6E-1D09C6F5B425}"/>
                </a:ext>
              </a:extLst>
            </p:cNvPr>
            <p:cNvSpPr/>
            <p:nvPr/>
          </p:nvSpPr>
          <p:spPr>
            <a:xfrm>
              <a:off x="521895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2711"/>
            <a:ext cx="10171833" cy="1363328"/>
          </a:xfrm>
        </p:spPr>
        <p:txBody>
          <a:bodyPr anchor="ctr">
            <a:no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СИЛА БЛАГОДАРНОСТ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7ED1CA5-A294-DB43-B971-789749F75D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093" y="1452618"/>
            <a:ext cx="4410720" cy="4410720"/>
          </a:xfrm>
          <a:prstGeom prst="rect">
            <a:avLst/>
          </a:prstGeom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842252FB-9C75-74FB-03FF-1926D0194B38}"/>
              </a:ext>
            </a:extLst>
          </p:cNvPr>
          <p:cNvSpPr txBox="1">
            <a:spLocks/>
          </p:cNvSpPr>
          <p:nvPr/>
        </p:nvSpPr>
        <p:spPr>
          <a:xfrm>
            <a:off x="267832" y="5679179"/>
            <a:ext cx="9970449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Лада, я благодарна тебе за возможность использовать материал по благодарности в сегодняшнем вебинаре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меня важно, чтобы теория была подтверждена практикой. Спасибо»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3284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Title 1"/>
          <p:cNvSpPr txBox="1">
            <a:spLocks/>
          </p:cNvSpPr>
          <p:nvPr/>
        </p:nvSpPr>
        <p:spPr bwMode="auto">
          <a:xfrm>
            <a:off x="374650" y="366743"/>
            <a:ext cx="8051800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4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РОВНИ</a:t>
            </a:r>
            <a:r>
              <a:rPr lang="ru-RU" sz="2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4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ЛУШАНИЯ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416051" y="1712914"/>
            <a:ext cx="2924175" cy="3457575"/>
          </a:xfrm>
          <a:prstGeom prst="rect">
            <a:avLst/>
          </a:prstGeom>
        </p:spPr>
        <p:txBody>
          <a:bodyPr/>
          <a:lstStyle/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r>
              <a:rPr lang="ru-RU" b="1" kern="0" dirty="0" err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Эмпатия</a:t>
            </a: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r>
              <a:rPr lang="ru-RU" b="1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Внимательное</a:t>
            </a: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r>
              <a:rPr lang="ru-RU" b="1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Выборочное</a:t>
            </a: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r>
              <a:rPr lang="ru-RU" b="1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Притворство </a:t>
            </a: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27025" indent="-327025" algn="r" defTabSz="871538" eaLnBrk="0" hangingPunct="0">
              <a:lnSpc>
                <a:spcPts val="2013"/>
              </a:lnSpc>
              <a:spcAft>
                <a:spcPct val="25000"/>
              </a:spcAft>
              <a:buSzPct val="160000"/>
              <a:defRPr/>
            </a:pPr>
            <a:r>
              <a:rPr lang="ru-RU" b="1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Игнорирование </a:t>
            </a:r>
            <a:endParaRPr lang="en-GB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3" name="Isosceles Triangle 8"/>
          <p:cNvSpPr/>
          <p:nvPr/>
        </p:nvSpPr>
        <p:spPr>
          <a:xfrm>
            <a:off x="4400550" y="1989138"/>
            <a:ext cx="3779838" cy="3181350"/>
          </a:xfrm>
          <a:prstGeom prst="triangle">
            <a:avLst/>
          </a:prstGeom>
          <a:noFill/>
          <a:ln w="38100">
            <a:solidFill>
              <a:srgbClr val="F57413"/>
            </a:solidFill>
            <a:headEnd type="none"/>
            <a:tailEnd type="triangle"/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GB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cs typeface="Arial"/>
            </a:endParaRPr>
          </a:p>
        </p:txBody>
      </p:sp>
      <p:sp>
        <p:nvSpPr>
          <p:cNvPr id="51204" name="TextBox 13"/>
          <p:cNvSpPr txBox="1">
            <a:spLocks noChangeArrowheads="1"/>
          </p:cNvSpPr>
          <p:nvPr/>
        </p:nvSpPr>
        <p:spPr bwMode="auto">
          <a:xfrm>
            <a:off x="4700589" y="3175000"/>
            <a:ext cx="31210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 algn="ctr" eaLnBrk="0" hangingPunct="0"/>
            <a:r>
              <a:rPr kumimoji="0" lang="ru-RU" sz="2400" b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Громкость </a:t>
            </a:r>
          </a:p>
          <a:p>
            <a:pPr algn="ctr" eaLnBrk="0" hangingPunct="0"/>
            <a:r>
              <a:rPr kumimoji="0" lang="ru-RU" sz="2400" b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«внутреннего </a:t>
            </a:r>
          </a:p>
          <a:p>
            <a:pPr algn="ctr" eaLnBrk="0" hangingPunct="0"/>
            <a:r>
              <a:rPr kumimoji="0" lang="ru-RU" sz="2400" b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голоса»</a:t>
            </a:r>
            <a:endParaRPr kumimoji="0" lang="en-GB" sz="2400" b="1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1205" name="TextBox 14"/>
          <p:cNvSpPr txBox="1">
            <a:spLocks noChangeArrowheads="1"/>
          </p:cNvSpPr>
          <p:nvPr/>
        </p:nvSpPr>
        <p:spPr bwMode="auto">
          <a:xfrm>
            <a:off x="4224436" y="4748213"/>
            <a:ext cx="17524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 lvl="1" algn="ctr" eaLnBrk="0" hangingPunct="0"/>
            <a:r>
              <a:rPr kumimoji="0" lang="ru-RU" b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ВЫСОКАЯ</a:t>
            </a:r>
            <a:endParaRPr kumimoji="0" lang="en-GB" b="1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1206" name="TextBox 15"/>
          <p:cNvSpPr txBox="1">
            <a:spLocks noChangeArrowheads="1"/>
          </p:cNvSpPr>
          <p:nvPr/>
        </p:nvSpPr>
        <p:spPr bwMode="auto">
          <a:xfrm>
            <a:off x="4584063" y="2397125"/>
            <a:ext cx="108395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 algn="ctr" eaLnBrk="0" hangingPunct="0"/>
            <a:r>
              <a:rPr kumimoji="0" lang="ru-RU" b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НИЗКАЯ</a:t>
            </a:r>
            <a:endParaRPr kumimoji="0" lang="en-GB" b="1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1207" name="TextBox 16"/>
          <p:cNvSpPr txBox="1">
            <a:spLocks noChangeArrowheads="1"/>
          </p:cNvSpPr>
          <p:nvPr/>
        </p:nvSpPr>
        <p:spPr bwMode="auto">
          <a:xfrm>
            <a:off x="6705600" y="5783371"/>
            <a:ext cx="46438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 eaLnBrk="0" hangingPunct="0"/>
            <a:r>
              <a:rPr kumimoji="0" lang="ru-RU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Ссылка: Стивен </a:t>
            </a:r>
            <a:r>
              <a:rPr kumimoji="0" lang="ru-RU" sz="1000" dirty="0" err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Кови</a:t>
            </a:r>
            <a:r>
              <a:rPr kumimoji="0" lang="ru-RU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 – 7 навыков высокоэффективных  людей (</a:t>
            </a:r>
            <a:r>
              <a:rPr kumimoji="0" lang="en-GB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Stephen R. Covey</a:t>
            </a:r>
            <a:r>
              <a:rPr kumimoji="0" lang="ru-RU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), Навык </a:t>
            </a:r>
            <a:r>
              <a:rPr kumimoji="0" lang="en-GB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5 – </a:t>
            </a:r>
            <a:r>
              <a:rPr kumimoji="0" lang="ru-RU" sz="10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Сначала стремитесь понять, затем – быть понятым. </a:t>
            </a:r>
            <a:endParaRPr kumimoji="0" lang="en-GB" sz="100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eaLnBrk="0" hangingPunct="0"/>
            <a:endParaRPr kumimoji="0" lang="en-GB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cxnSp>
        <p:nvCxnSpPr>
          <p:cNvPr id="51208" name="Straight Arrow Connector 7"/>
          <p:cNvCxnSpPr>
            <a:cxnSpLocks noChangeShapeType="1"/>
          </p:cNvCxnSpPr>
          <p:nvPr/>
        </p:nvCxnSpPr>
        <p:spPr bwMode="auto">
          <a:xfrm rot="5400000" flipH="1">
            <a:off x="2794794" y="3579019"/>
            <a:ext cx="3181350" cy="1588"/>
          </a:xfrm>
          <a:prstGeom prst="straightConnector1">
            <a:avLst/>
          </a:prstGeom>
          <a:noFill/>
          <a:ln w="38100">
            <a:solidFill>
              <a:srgbClr val="F574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pic>
        <p:nvPicPr>
          <p:cNvPr id="51209" name="Изображение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466" y="1417638"/>
            <a:ext cx="2747962" cy="236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10" name="TextBox 3"/>
          <p:cNvSpPr txBox="1">
            <a:spLocks noChangeArrowheads="1"/>
          </p:cNvSpPr>
          <p:nvPr/>
        </p:nvSpPr>
        <p:spPr bwMode="auto">
          <a:xfrm>
            <a:off x="8709416" y="3848100"/>
            <a:ext cx="2678112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 eaLnBrk="0" hangingPunct="0"/>
            <a:r>
              <a:rPr kumimoji="0" lang="ru-RU" i="1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Стивен </a:t>
            </a:r>
            <a:r>
              <a:rPr kumimoji="0" lang="ru-RU" i="1" dirty="0" err="1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Кови</a:t>
            </a:r>
            <a:endParaRPr kumimoji="0" lang="ru-RU" i="1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eaLnBrk="0" hangingPunct="0"/>
            <a:r>
              <a:rPr kumimoji="0" lang="ru-RU" b="1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7 навыков высокоэффективных людей</a:t>
            </a:r>
          </a:p>
        </p:txBody>
      </p:sp>
    </p:spTree>
    <p:extLst>
      <p:ext uri="{BB962C8B-B14F-4D97-AF65-F5344CB8AC3E}">
        <p14:creationId xmlns:p14="http://schemas.microsoft.com/office/powerpoint/2010/main" val="1784079535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786" name="Picture 11" descr="j029865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339" y="1484314"/>
            <a:ext cx="1347787" cy="115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787" name="Picture 13" descr="j029865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135689" y="1503364"/>
            <a:ext cx="1349375" cy="115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3957" name="Text Box 14"/>
          <p:cNvSpPr txBox="1">
            <a:spLocks noChangeArrowheads="1"/>
          </p:cNvSpPr>
          <p:nvPr/>
        </p:nvSpPr>
        <p:spPr bwMode="auto">
          <a:xfrm>
            <a:off x="669561" y="3429000"/>
            <a:ext cx="10130331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  <a:cs typeface="Arial" charset="0"/>
              </a:defRPr>
            </a:lvl1pPr>
            <a:lvl2pPr marL="742950" indent="-285750"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2pPr>
            <a:lvl3pPr marL="1143000" indent="-228600"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3pPr>
            <a:lvl4pPr marL="1600200" indent="-228600"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4pPr>
            <a:lvl5pPr marL="2057400" indent="-228600"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 kumimoji="1" sz="2000">
                <a:solidFill>
                  <a:schemeClr val="tx2"/>
                </a:solidFill>
                <a:latin typeface="Century Gothic" charset="0"/>
                <a:ea typeface="Arial" charset="0"/>
              </a:defRPr>
            </a:lvl9pPr>
          </a:lstStyle>
          <a:p>
            <a:pPr>
              <a:buFontTx/>
              <a:buChar char="•"/>
            </a:pPr>
            <a:r>
              <a:rPr kumimoji="0" lang="ru-RU" dirty="0">
                <a:solidFill>
                  <a:srgbClr val="00000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Во время слушания вы ждете сигнала, чтобы сказать своё ключевое послание</a:t>
            </a: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kumimoji="0" lang="ru-RU" dirty="0">
                <a:solidFill>
                  <a:srgbClr val="00000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Вы прислушиваетесь к ошибке в логике, данных или предположениях</a:t>
            </a: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kumimoji="0" lang="ru-RU" dirty="0">
                <a:solidFill>
                  <a:srgbClr val="00000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Вы слушаете и в то же время думаете о плане действий и о конечном результате</a:t>
            </a:r>
          </a:p>
          <a:p>
            <a:pPr>
              <a:buFontTx/>
              <a:buChar char="•"/>
            </a:pP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>
              <a:buFontTx/>
              <a:buChar char="•"/>
            </a:pPr>
            <a:r>
              <a:rPr kumimoji="0" lang="ru-RU" dirty="0">
                <a:solidFill>
                  <a:srgbClr val="00000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Вы мысленно делаете комментарии к тому, что было сказано</a:t>
            </a:r>
            <a:endParaRPr kumimoji="0" lang="en-US" dirty="0">
              <a:solidFill>
                <a:srgbClr val="000000"/>
              </a:solidFill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36DB3F5C-DD08-E173-D557-F2C95150C324}"/>
              </a:ext>
            </a:extLst>
          </p:cNvPr>
          <p:cNvSpPr txBox="1">
            <a:spLocks/>
          </p:cNvSpPr>
          <p:nvPr/>
        </p:nvSpPr>
        <p:spPr>
          <a:xfrm>
            <a:off x="429719" y="429864"/>
            <a:ext cx="8712200" cy="659163"/>
          </a:xfrm>
          <a:prstGeom prst="rect">
            <a:avLst/>
          </a:prstGeom>
        </p:spPr>
        <p:txBody>
          <a:bodyPr>
            <a:normAutofit fontScale="300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+mj-lt"/>
                <a:ea typeface="Arial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l"/>
            <a:r>
              <a:rPr lang="ru-RU" sz="76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НДИКАТОРЫ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77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РОМКОСТИ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77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НУТРЕННЕГО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77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ОЛОСА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78637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3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395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70290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9BD6ACC-9739-9E45-A2E5-5535FB57A19F}"/>
              </a:ext>
            </a:extLst>
          </p:cNvPr>
          <p:cNvGrpSpPr/>
          <p:nvPr/>
        </p:nvGrpSpPr>
        <p:grpSpPr>
          <a:xfrm>
            <a:off x="496357" y="793182"/>
            <a:ext cx="11079363" cy="5154013"/>
            <a:chOff x="53065" y="847824"/>
            <a:chExt cx="10819534" cy="5033139"/>
          </a:xfrm>
        </p:grpSpPr>
        <p:pic>
          <p:nvPicPr>
            <p:cNvPr id="9" name="object 4">
              <a:extLst>
                <a:ext uri="{FF2B5EF4-FFF2-40B4-BE49-F238E27FC236}">
                  <a16:creationId xmlns:a16="http://schemas.microsoft.com/office/drawing/2014/main" id="{E226E541-C377-A844-B388-E8EDCBA8CA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48733" y="1266102"/>
              <a:ext cx="5917003" cy="4614861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1200F77-6CFB-034D-AFDB-3B52FE461A42}"/>
                </a:ext>
              </a:extLst>
            </p:cNvPr>
            <p:cNvGrpSpPr/>
            <p:nvPr/>
          </p:nvGrpSpPr>
          <p:grpSpPr>
            <a:xfrm>
              <a:off x="53065" y="847824"/>
              <a:ext cx="10819534" cy="3855730"/>
              <a:chOff x="53065" y="847824"/>
              <a:chExt cx="10819534" cy="3855730"/>
            </a:xfrm>
          </p:grpSpPr>
          <p:sp>
            <p:nvSpPr>
              <p:cNvPr id="11" name="Title 1">
                <a:extLst>
                  <a:ext uri="{FF2B5EF4-FFF2-40B4-BE49-F238E27FC236}">
                    <a16:creationId xmlns:a16="http://schemas.microsoft.com/office/drawing/2014/main" id="{9669EB54-DD8F-D549-A566-216147B257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32714" y="1498518"/>
                <a:ext cx="3749040" cy="262891"/>
              </a:xfrm>
              <a:prstGeom prst="rect">
                <a:avLst/>
              </a:prstGeom>
            </p:spPr>
            <p:txBody>
              <a:bodyPr anchor="t">
                <a:noAutofit/>
              </a:bodyPr>
              <a:lstStyle>
                <a:lvl1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1pPr>
                <a:lvl2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2pPr>
                <a:lvl3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3pPr>
                <a:lvl4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4pPr>
                <a:lvl5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5pPr>
                <a:lvl6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6pPr>
                <a:lvl7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7pPr>
                <a:lvl8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8pPr>
                <a:lvl9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6861F"/>
                    </a:solidFill>
                    <a:effectLst/>
                    <a:uLnTx/>
                    <a:uFillTx/>
                    <a:latin typeface="Verdana"/>
                    <a:ea typeface="Verdana"/>
                    <a:cs typeface="Verdana"/>
                    <a:sym typeface="Verdana"/>
                  </a:rPr>
                  <a:t>ЛИДЕРСТВО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6861F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" name="object 17">
                <a:extLst>
                  <a:ext uri="{FF2B5EF4-FFF2-40B4-BE49-F238E27FC236}">
                    <a16:creationId xmlns:a16="http://schemas.microsoft.com/office/drawing/2014/main" id="{9B176810-B2CD-3C44-A0F7-3A50F8E65C03}"/>
                  </a:ext>
                </a:extLst>
              </p:cNvPr>
              <p:cNvSpPr txBox="1"/>
              <p:nvPr/>
            </p:nvSpPr>
            <p:spPr>
              <a:xfrm>
                <a:off x="7729763" y="1266102"/>
                <a:ext cx="3142836" cy="82403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формировать здоровое восприятие происходящих событий</a:t>
                </a:r>
                <a:endPara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object 18">
                <a:extLst>
                  <a:ext uri="{FF2B5EF4-FFF2-40B4-BE49-F238E27FC236}">
                    <a16:creationId xmlns:a16="http://schemas.microsoft.com/office/drawing/2014/main" id="{88C8D730-9D7C-944D-84DA-9A5426A659FA}"/>
                  </a:ext>
                </a:extLst>
              </p:cNvPr>
              <p:cNvSpPr txBox="1"/>
              <p:nvPr/>
            </p:nvSpPr>
            <p:spPr>
              <a:xfrm>
                <a:off x="7729763" y="3567507"/>
                <a:ext cx="2937659" cy="826411"/>
              </a:xfrm>
              <a:prstGeom prst="rect">
                <a:avLst/>
              </a:prstGeom>
            </p:spPr>
            <p:txBody>
              <a:bodyPr vert="horz" wrap="square" lIns="0" tIns="11431" rIns="0" bIns="0" rtlCol="0">
                <a:spAutoFit/>
              </a:bodyPr>
              <a:lstStyle/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знать собственную значимость </a:t>
                </a:r>
              </a:p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object 19">
                <a:extLst>
                  <a:ext uri="{FF2B5EF4-FFF2-40B4-BE49-F238E27FC236}">
                    <a16:creationId xmlns:a16="http://schemas.microsoft.com/office/drawing/2014/main" id="{90A5B0DE-23AD-564D-87F6-894C4E0B1881}"/>
                  </a:ext>
                </a:extLst>
              </p:cNvPr>
              <p:cNvSpPr txBox="1"/>
              <p:nvPr/>
            </p:nvSpPr>
            <p:spPr>
              <a:xfrm>
                <a:off x="53065" y="847824"/>
                <a:ext cx="2937659" cy="83655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Вернуть ясность и контроль над ситуацией  </a:t>
                </a:r>
                <a:endParaRPr kumimoji="0" lang="en" sz="1800" b="0" i="0" u="none" strike="noStrike" kern="1200" cap="none" spc="-5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object 20">
                <a:extLst>
                  <a:ext uri="{FF2B5EF4-FFF2-40B4-BE49-F238E27FC236}">
                    <a16:creationId xmlns:a16="http://schemas.microsoft.com/office/drawing/2014/main" id="{0591D366-0C43-254F-BCD5-40383AC9BD2B}"/>
                  </a:ext>
                </a:extLst>
              </p:cNvPr>
              <p:cNvSpPr txBox="1"/>
              <p:nvPr/>
            </p:nvSpPr>
            <p:spPr>
              <a:xfrm>
                <a:off x="67635" y="3313471"/>
                <a:ext cx="2937659" cy="139008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ддерживать доверительные отношения  с людьми</a:t>
                </a:r>
              </a:p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0" name="Объект 2">
            <a:extLst>
              <a:ext uri="{FF2B5EF4-FFF2-40B4-BE49-F238E27FC236}">
                <a16:creationId xmlns:a16="http://schemas.microsoft.com/office/drawing/2014/main" id="{2D7394D1-6B8A-7E4B-8B64-193DBFF00219}"/>
              </a:ext>
            </a:extLst>
          </p:cNvPr>
          <p:cNvSpPr txBox="1">
            <a:spLocks/>
          </p:cNvSpPr>
          <p:nvPr/>
        </p:nvSpPr>
        <p:spPr>
          <a:xfrm>
            <a:off x="293294" y="2278196"/>
            <a:ext cx="3839072" cy="1738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ействовать через «яркие» пят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Искусство маленьких шагов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E8574DF6-4F72-4F48-A275-F37E7E65C13A}"/>
              </a:ext>
            </a:extLst>
          </p:cNvPr>
          <p:cNvSpPr txBox="1">
            <a:spLocks/>
          </p:cNvSpPr>
          <p:nvPr/>
        </p:nvSpPr>
        <p:spPr>
          <a:xfrm>
            <a:off x="8244428" y="2401794"/>
            <a:ext cx="3926496" cy="74557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Определить круг влия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/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 круг беспокойств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истанцироваться перед принятием решения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Zoom Ou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6D32A9EE-5DC8-6949-9509-ACDC9550F776}"/>
              </a:ext>
            </a:extLst>
          </p:cNvPr>
          <p:cNvSpPr txBox="1">
            <a:spLocks/>
          </p:cNvSpPr>
          <p:nvPr/>
        </p:nvSpPr>
        <p:spPr>
          <a:xfrm>
            <a:off x="280153" y="4717190"/>
            <a:ext cx="4097294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благодарить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слышать людей: эмпатия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12246A2C-F393-FB4C-88E4-829B554EC282}"/>
              </a:ext>
            </a:extLst>
          </p:cNvPr>
          <p:cNvSpPr txBox="1">
            <a:spLocks/>
          </p:cNvSpPr>
          <p:nvPr/>
        </p:nvSpPr>
        <p:spPr>
          <a:xfrm>
            <a:off x="8270362" y="4230702"/>
            <a:ext cx="3662562" cy="140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Знать свои ценности и действовать в соответствии с ценностями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правлять собственным мышлением  </a:t>
            </a:r>
          </a:p>
        </p:txBody>
      </p:sp>
    </p:spTree>
    <p:extLst>
      <p:ext uri="{BB962C8B-B14F-4D97-AF65-F5344CB8AC3E}">
        <p14:creationId xmlns:p14="http://schemas.microsoft.com/office/powerpoint/2010/main" val="2231737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68001" y="-2381"/>
            <a:ext cx="152165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2341" y="31416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33" y="237852"/>
            <a:ext cx="10581621" cy="1363328"/>
          </a:xfrm>
        </p:spPr>
        <p:txBody>
          <a:bodyPr anchor="ctr">
            <a:no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ЯСНОСТЬ И КОНТРОЛЬ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D2F0116-5316-354E-AC10-5BCF2959FEBF}"/>
              </a:ext>
            </a:extLst>
          </p:cNvPr>
          <p:cNvSpPr txBox="1"/>
          <p:nvPr/>
        </p:nvSpPr>
        <p:spPr bwMode="gray">
          <a:xfrm>
            <a:off x="464483" y="1576042"/>
            <a:ext cx="5290125" cy="38632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 hangingPunct="0">
              <a:lnSpc>
                <a:spcPct val="115000"/>
              </a:lnSpc>
              <a:defRPr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айти яркие пятн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спешный опыт для подражания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(личный или кого-то)</a:t>
            </a:r>
          </a:p>
          <a:p>
            <a:pPr eaLnBrk="0" hangingPunct="0">
              <a:lnSpc>
                <a:spcPct val="115000"/>
              </a:lnSpc>
              <a:defRPr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lnSpc>
                <a:spcPct val="115000"/>
              </a:lnSpc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- Большая проблема – маленькое решение </a:t>
            </a:r>
          </a:p>
          <a:p>
            <a:pPr eaLnBrk="0" hangingPunct="0">
              <a:lnSpc>
                <a:spcPct val="115000"/>
              </a:lnSpc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lnSpc>
                <a:spcPct val="115000"/>
              </a:lnSpc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- Поиск решения через разбор успешного опыта, а не через разбор проблемной ситуации </a:t>
            </a:r>
          </a:p>
          <a:p>
            <a:pPr eaLnBrk="0" hangingPunct="0">
              <a:lnSpc>
                <a:spcPct val="115000"/>
              </a:lnSpc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(анализ проблемной ситуации часто приводит к параличу принятия решений) </a:t>
            </a:r>
          </a:p>
          <a:p>
            <a:pPr eaLnBrk="0" hangingPunct="0">
              <a:lnSpc>
                <a:spcPct val="115000"/>
              </a:lnSpc>
              <a:defRPr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5E16CF5-1407-2C07-C087-3E3D29E86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4608" y="2564944"/>
            <a:ext cx="4183871" cy="418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8443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D9D36D6-2AC5-46A1-A849-4C82D5264A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3380610-BBBE-0ADC-9E92-CC7E3DE688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9"/>
          <a:stretch/>
        </p:blipFill>
        <p:spPr>
          <a:xfrm>
            <a:off x="20" y="10"/>
            <a:ext cx="4992985" cy="68579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5E11A6-4D7E-001F-BBD3-945E406209F4}"/>
              </a:ext>
            </a:extLst>
          </p:cNvPr>
          <p:cNvSpPr txBox="1"/>
          <p:nvPr/>
        </p:nvSpPr>
        <p:spPr>
          <a:xfrm>
            <a:off x="5370711" y="2644170"/>
            <a:ext cx="610099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Через действие рождается ясность</a:t>
            </a:r>
            <a:r>
              <a:rPr kumimoji="0" lang="ru-RU" sz="3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в отношении следующего шага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4035754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3212543-ACD0-17CD-299F-37E0BF18F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ЛИДЕР – ЛЮБОЙ ЧЕЛОВЕК </a:t>
            </a:r>
          </a:p>
        </p:txBody>
      </p:sp>
      <p:pic>
        <p:nvPicPr>
          <p:cNvPr id="8" name="Рисунок 7" descr="Изображение выглядит как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71CF27F3-EEB9-F6F1-CCA7-FE3C97EAAE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428" y="791465"/>
            <a:ext cx="7225748" cy="527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1389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4BC5E88-0319-374A-9EBD-60C4E4240650}"/>
              </a:ext>
            </a:extLst>
          </p:cNvPr>
          <p:cNvSpPr/>
          <p:nvPr/>
        </p:nvSpPr>
        <p:spPr>
          <a:xfrm>
            <a:off x="11474250" y="4378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4A65DEF-9321-2549-A7C8-B0F9DDBF88B2}"/>
              </a:ext>
            </a:extLst>
          </p:cNvPr>
          <p:cNvSpPr/>
          <p:nvPr/>
        </p:nvSpPr>
        <p:spPr>
          <a:xfrm>
            <a:off x="11739742" y="4378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43786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50" y="-7814"/>
            <a:ext cx="10171833" cy="1363328"/>
          </a:xfrm>
        </p:spPr>
        <p:txBody>
          <a:bodyPr anchor="ctr">
            <a:no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ЭФФЕКТ БАБОЧКИ</a:t>
            </a:r>
          </a:p>
        </p:txBody>
      </p:sp>
      <p:pic>
        <p:nvPicPr>
          <p:cNvPr id="10" name="Picture 7" descr="Изображение выглядит как текст, окно&#10;&#10;Автоматически созданное описание">
            <a:extLst>
              <a:ext uri="{FF2B5EF4-FFF2-40B4-BE49-F238E27FC236}">
                <a16:creationId xmlns:a16="http://schemas.microsoft.com/office/drawing/2014/main" id="{CD942FE0-122A-CF40-8A76-5C5451D0B9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99" r="3" b="3"/>
          <a:stretch/>
        </p:blipFill>
        <p:spPr>
          <a:xfrm>
            <a:off x="365758" y="1554480"/>
            <a:ext cx="5577840" cy="4572000"/>
          </a:xfrm>
          <a:prstGeom prst="rect">
            <a:avLst/>
          </a:prstGeom>
          <a:noFill/>
        </p:spPr>
      </p:pic>
      <p:pic>
        <p:nvPicPr>
          <p:cNvPr id="11" name="Picture 6" descr="Film reel.jpeg">
            <a:extLst>
              <a:ext uri="{FF2B5EF4-FFF2-40B4-BE49-F238E27FC236}">
                <a16:creationId xmlns:a16="http://schemas.microsoft.com/office/drawing/2014/main" id="{3D6625B2-4F30-E849-80EB-0D2E27A081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6" r="29973" b="-1"/>
          <a:stretch/>
        </p:blipFill>
        <p:spPr>
          <a:xfrm>
            <a:off x="6248400" y="1554480"/>
            <a:ext cx="5577840" cy="4572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38883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70290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9BD6ACC-9739-9E45-A2E5-5535FB57A19F}"/>
              </a:ext>
            </a:extLst>
          </p:cNvPr>
          <p:cNvGrpSpPr/>
          <p:nvPr/>
        </p:nvGrpSpPr>
        <p:grpSpPr>
          <a:xfrm>
            <a:off x="496357" y="793182"/>
            <a:ext cx="11079363" cy="5154013"/>
            <a:chOff x="53065" y="847824"/>
            <a:chExt cx="10819534" cy="5033139"/>
          </a:xfrm>
        </p:grpSpPr>
        <p:pic>
          <p:nvPicPr>
            <p:cNvPr id="9" name="object 4">
              <a:extLst>
                <a:ext uri="{FF2B5EF4-FFF2-40B4-BE49-F238E27FC236}">
                  <a16:creationId xmlns:a16="http://schemas.microsoft.com/office/drawing/2014/main" id="{E226E541-C377-A844-B388-E8EDCBA8CA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48733" y="1266102"/>
              <a:ext cx="5917003" cy="4614861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1200F77-6CFB-034D-AFDB-3B52FE461A42}"/>
                </a:ext>
              </a:extLst>
            </p:cNvPr>
            <p:cNvGrpSpPr/>
            <p:nvPr/>
          </p:nvGrpSpPr>
          <p:grpSpPr>
            <a:xfrm>
              <a:off x="53065" y="847824"/>
              <a:ext cx="10819534" cy="3855730"/>
              <a:chOff x="53065" y="847824"/>
              <a:chExt cx="10819534" cy="3855730"/>
            </a:xfrm>
          </p:grpSpPr>
          <p:sp>
            <p:nvSpPr>
              <p:cNvPr id="11" name="Title 1">
                <a:extLst>
                  <a:ext uri="{FF2B5EF4-FFF2-40B4-BE49-F238E27FC236}">
                    <a16:creationId xmlns:a16="http://schemas.microsoft.com/office/drawing/2014/main" id="{9669EB54-DD8F-D549-A566-216147B257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32714" y="1498518"/>
                <a:ext cx="3749040" cy="262891"/>
              </a:xfrm>
              <a:prstGeom prst="rect">
                <a:avLst/>
              </a:prstGeom>
            </p:spPr>
            <p:txBody>
              <a:bodyPr anchor="t">
                <a:noAutofit/>
              </a:bodyPr>
              <a:lstStyle>
                <a:lvl1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1pPr>
                <a:lvl2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2pPr>
                <a:lvl3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3pPr>
                <a:lvl4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4pPr>
                <a:lvl5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5pPr>
                <a:lvl6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6pPr>
                <a:lvl7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7pPr>
                <a:lvl8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8pPr>
                <a:lvl9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6861F"/>
                    </a:solidFill>
                    <a:effectLst/>
                    <a:uLnTx/>
                    <a:uFillTx/>
                    <a:latin typeface="Verdana"/>
                    <a:ea typeface="Verdana"/>
                    <a:cs typeface="Verdana"/>
                    <a:sym typeface="Verdana"/>
                  </a:rPr>
                  <a:t>ЛИДЕРСТВО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6861F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" name="object 17">
                <a:extLst>
                  <a:ext uri="{FF2B5EF4-FFF2-40B4-BE49-F238E27FC236}">
                    <a16:creationId xmlns:a16="http://schemas.microsoft.com/office/drawing/2014/main" id="{9B176810-B2CD-3C44-A0F7-3A50F8E65C03}"/>
                  </a:ext>
                </a:extLst>
              </p:cNvPr>
              <p:cNvSpPr txBox="1"/>
              <p:nvPr/>
            </p:nvSpPr>
            <p:spPr>
              <a:xfrm>
                <a:off x="7729763" y="1266102"/>
                <a:ext cx="3142836" cy="82403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формировать здоровое восприятие происходящих событий</a:t>
                </a:r>
                <a:endPara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object 18">
                <a:extLst>
                  <a:ext uri="{FF2B5EF4-FFF2-40B4-BE49-F238E27FC236}">
                    <a16:creationId xmlns:a16="http://schemas.microsoft.com/office/drawing/2014/main" id="{88C8D730-9D7C-944D-84DA-9A5426A659FA}"/>
                  </a:ext>
                </a:extLst>
              </p:cNvPr>
              <p:cNvSpPr txBox="1"/>
              <p:nvPr/>
            </p:nvSpPr>
            <p:spPr>
              <a:xfrm>
                <a:off x="7729763" y="3567507"/>
                <a:ext cx="2937659" cy="826411"/>
              </a:xfrm>
              <a:prstGeom prst="rect">
                <a:avLst/>
              </a:prstGeom>
            </p:spPr>
            <p:txBody>
              <a:bodyPr vert="horz" wrap="square" lIns="0" tIns="11431" rIns="0" bIns="0" rtlCol="0">
                <a:spAutoFit/>
              </a:bodyPr>
              <a:lstStyle/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знать собственную значимость </a:t>
                </a:r>
              </a:p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object 19">
                <a:extLst>
                  <a:ext uri="{FF2B5EF4-FFF2-40B4-BE49-F238E27FC236}">
                    <a16:creationId xmlns:a16="http://schemas.microsoft.com/office/drawing/2014/main" id="{90A5B0DE-23AD-564D-87F6-894C4E0B1881}"/>
                  </a:ext>
                </a:extLst>
              </p:cNvPr>
              <p:cNvSpPr txBox="1"/>
              <p:nvPr/>
            </p:nvSpPr>
            <p:spPr>
              <a:xfrm>
                <a:off x="53065" y="847824"/>
                <a:ext cx="2937659" cy="83655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Вернуть ясность и контроль над ситуацией  </a:t>
                </a:r>
                <a:endParaRPr kumimoji="0" lang="en" sz="1800" b="0" i="0" u="none" strike="noStrike" kern="1200" cap="none" spc="-5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object 20">
                <a:extLst>
                  <a:ext uri="{FF2B5EF4-FFF2-40B4-BE49-F238E27FC236}">
                    <a16:creationId xmlns:a16="http://schemas.microsoft.com/office/drawing/2014/main" id="{0591D366-0C43-254F-BCD5-40383AC9BD2B}"/>
                  </a:ext>
                </a:extLst>
              </p:cNvPr>
              <p:cNvSpPr txBox="1"/>
              <p:nvPr/>
            </p:nvSpPr>
            <p:spPr>
              <a:xfrm>
                <a:off x="67635" y="3313471"/>
                <a:ext cx="2937659" cy="139008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1200" cap="none" spc="-5" normalizeH="0" baseline="0" noProof="0" dirty="0">
                    <a:ln>
                      <a:noFill/>
                    </a:ln>
                    <a:solidFill>
                      <a:srgbClr val="44546A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ддерживать доверительные отношения  с людьми</a:t>
                </a:r>
              </a:p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0" name="Объект 2">
            <a:extLst>
              <a:ext uri="{FF2B5EF4-FFF2-40B4-BE49-F238E27FC236}">
                <a16:creationId xmlns:a16="http://schemas.microsoft.com/office/drawing/2014/main" id="{2D7394D1-6B8A-7E4B-8B64-193DBFF00219}"/>
              </a:ext>
            </a:extLst>
          </p:cNvPr>
          <p:cNvSpPr txBox="1">
            <a:spLocks/>
          </p:cNvSpPr>
          <p:nvPr/>
        </p:nvSpPr>
        <p:spPr>
          <a:xfrm>
            <a:off x="293294" y="2278196"/>
            <a:ext cx="3839072" cy="1738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ействовать через «яркие» пят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Искусство маленьких шагов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E8574DF6-4F72-4F48-A275-F37E7E65C13A}"/>
              </a:ext>
            </a:extLst>
          </p:cNvPr>
          <p:cNvSpPr txBox="1">
            <a:spLocks/>
          </p:cNvSpPr>
          <p:nvPr/>
        </p:nvSpPr>
        <p:spPr>
          <a:xfrm>
            <a:off x="8244428" y="2401794"/>
            <a:ext cx="3926496" cy="74557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Определить круг влия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/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 круг беспокойств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Дистанцироваться перед принятием решения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Zoom Ou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6D32A9EE-5DC8-6949-9509-ACDC9550F776}"/>
              </a:ext>
            </a:extLst>
          </p:cNvPr>
          <p:cNvSpPr txBox="1">
            <a:spLocks/>
          </p:cNvSpPr>
          <p:nvPr/>
        </p:nvSpPr>
        <p:spPr>
          <a:xfrm>
            <a:off x="280153" y="4717190"/>
            <a:ext cx="4097294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благодарить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меть слышать людей: эмпатия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12246A2C-F393-FB4C-88E4-829B554EC282}"/>
              </a:ext>
            </a:extLst>
          </p:cNvPr>
          <p:cNvSpPr txBox="1">
            <a:spLocks/>
          </p:cNvSpPr>
          <p:nvPr/>
        </p:nvSpPr>
        <p:spPr>
          <a:xfrm>
            <a:off x="8270362" y="4230702"/>
            <a:ext cx="3662562" cy="140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Знать свои ценности и действовать в соответствии с ценностями 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Системный шрифт, обычный"/>
              <a:buChar char="–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Light"/>
                <a:ea typeface="+mn-ea"/>
                <a:cs typeface="+mn-cs"/>
              </a:rPr>
              <a:t>Управлять собственным мышлением  </a:t>
            </a:r>
          </a:p>
        </p:txBody>
      </p:sp>
    </p:spTree>
    <p:extLst>
      <p:ext uri="{BB962C8B-B14F-4D97-AF65-F5344CB8AC3E}">
        <p14:creationId xmlns:p14="http://schemas.microsoft.com/office/powerpoint/2010/main" val="23453039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EF07C4-D80A-632D-D7CF-E8F1E7345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213"/>
            <a:ext cx="10515600" cy="1325563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НИГ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7E28F1-71FD-EB45-51AE-0D2278624E25}"/>
              </a:ext>
            </a:extLst>
          </p:cNvPr>
          <p:cNvSpPr txBox="1"/>
          <p:nvPr/>
        </p:nvSpPr>
        <p:spPr>
          <a:xfrm>
            <a:off x="568377" y="1885560"/>
            <a:ext cx="11413761" cy="3898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7 навыков высокоэффективных людей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С.Кови</a:t>
            </a:r>
            <a:endParaRPr lang="ru-RU" b="0" i="0" u="none" strike="noStrike" dirty="0">
              <a:effectLst/>
              <a:latin typeface="Helvetica" pitchFamily="2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Эмоциональное лидерство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Д.Големана</a:t>
            </a:r>
            <a:r>
              <a:rPr lang="ru-RU" b="0" i="0" u="none" strike="noStrike" dirty="0">
                <a:effectLst/>
                <a:latin typeface="Helvetica" pitchFamily="2" charset="0"/>
              </a:rPr>
              <a:t> 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Искусство управлять людьми Аллан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Р.Коэн</a:t>
            </a:r>
            <a:r>
              <a:rPr lang="ru-RU" b="0" i="0" u="none" strike="noStrike" dirty="0">
                <a:effectLst/>
                <a:latin typeface="Helvetica" pitchFamily="2" charset="0"/>
              </a:rPr>
              <a:t> 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Почему они не работают? Новый взгляд на мотивацию сотрудников. Сьюзен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Фаулер</a:t>
            </a:r>
            <a:r>
              <a:rPr lang="ru-RU" b="0" i="0" u="none" strike="noStrike" dirty="0">
                <a:effectLst/>
                <a:latin typeface="Helvetica" pitchFamily="2" charset="0"/>
              </a:rPr>
              <a:t> 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Как захотеть сделать то, что нужно. Ваш источник мотивации. Сьюзен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Фаулер</a:t>
            </a:r>
            <a:endParaRPr lang="ru-RU" b="0" i="0" u="none" strike="noStrike" dirty="0">
              <a:effectLst/>
              <a:latin typeface="Helvetica" pitchFamily="2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Убеждай и побеждай. Никита Непряхин</a:t>
            </a:r>
          </a:p>
          <a:p>
            <a:pPr marL="342900" indent="-342900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Управляя изменениями. Как эффективно управлять изменениями в обществе, бизнесе и личной жизни. Ицхак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Адизес</a:t>
            </a:r>
            <a:r>
              <a:rPr lang="ru-RU" b="0" i="0" u="none" strike="noStrike" dirty="0">
                <a:effectLst/>
                <a:latin typeface="Helvetica" pitchFamily="2" charset="0"/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Сердце перемен. Как добиваться изменений легко и надолго. Чип Хиз, Дэн Хиз </a:t>
            </a:r>
          </a:p>
          <a:p>
            <a:pPr marL="342900" indent="-342900"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Эмоциональный интеллект 2.0.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Тревис</a:t>
            </a:r>
            <a:r>
              <a:rPr lang="ru-RU" b="0" i="0" u="none" strike="noStrike" dirty="0">
                <a:effectLst/>
                <a:latin typeface="Helvetica" pitchFamily="2" charset="0"/>
              </a:rPr>
              <a:t>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Бредбери</a:t>
            </a:r>
            <a:r>
              <a:rPr lang="ru-RU" b="0" i="0" u="none" strike="noStrike" dirty="0">
                <a:effectLst/>
                <a:latin typeface="Helvetica" pitchFamily="2" charset="0"/>
              </a:rPr>
              <a:t>, Джин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Гривз</a:t>
            </a:r>
            <a:endParaRPr lang="ru-RU" dirty="0">
              <a:latin typeface="Helvetica" pitchFamily="2" charset="0"/>
            </a:endParaRPr>
          </a:p>
          <a:p>
            <a:pPr marL="114300" indent="-342900" algn="l" rtl="0">
              <a:spcAft>
                <a:spcPts val="800"/>
              </a:spcAft>
              <a:buFont typeface="+mj-lt"/>
              <a:buAutoNum type="arabicPeriod"/>
            </a:pPr>
            <a:r>
              <a:rPr lang="en" b="0" i="0" u="none" strike="noStrike" dirty="0">
                <a:effectLst/>
                <a:latin typeface="Helvetica" pitchFamily="2" charset="0"/>
              </a:rPr>
              <a:t>Energy Management. </a:t>
            </a:r>
            <a:r>
              <a:rPr lang="ru-RU" b="0" i="0" u="none" strike="noStrike" dirty="0">
                <a:effectLst/>
                <a:latin typeface="Helvetica" pitchFamily="2" charset="0"/>
              </a:rPr>
              <a:t>Александр Зайцев</a:t>
            </a:r>
          </a:p>
          <a:p>
            <a:pPr marL="114300" indent="-342900" algn="l" rtl="0">
              <a:spcAft>
                <a:spcPts val="800"/>
              </a:spcAft>
              <a:buFont typeface="+mj-lt"/>
              <a:buAutoNum type="arabicPeriod"/>
            </a:pPr>
            <a:r>
              <a:rPr lang="ru-RU" b="0" i="0" u="none" strike="noStrike" dirty="0">
                <a:effectLst/>
                <a:latin typeface="Helvetica" pitchFamily="2" charset="0"/>
              </a:rPr>
              <a:t>Критическое мышление. Том </a:t>
            </a:r>
            <a:r>
              <a:rPr lang="ru-RU" b="0" i="0" u="none" strike="noStrike" dirty="0" err="1">
                <a:effectLst/>
                <a:latin typeface="Helvetica" pitchFamily="2" charset="0"/>
              </a:rPr>
              <a:t>Чатфилд</a:t>
            </a:r>
            <a:r>
              <a:rPr lang="ru-RU" b="0" i="0" u="none" strike="noStrike" dirty="0">
                <a:effectLst/>
                <a:latin typeface="Helvetica" pitchFamily="2" charset="0"/>
              </a:rPr>
              <a:t> </a:t>
            </a:r>
          </a:p>
          <a:p>
            <a:pPr marL="285750" indent="-285750" algn="l">
              <a:buFontTx/>
              <a:buChar char="-"/>
            </a:pPr>
            <a:endParaRPr lang="ru-RU" b="0" i="0" u="none" strike="noStrike" dirty="0">
              <a:effectLst/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625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39AD9D-6A49-81B6-189D-C48698DAD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ИЛЬМ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3CED82-0969-F55F-7626-7F1180842725}"/>
              </a:ext>
            </a:extLst>
          </p:cNvPr>
          <p:cNvSpPr txBox="1"/>
          <p:nvPr/>
        </p:nvSpPr>
        <p:spPr>
          <a:xfrm>
            <a:off x="838199" y="1690688"/>
            <a:ext cx="824583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ильм № 1 «Часы» 2002 года</a:t>
            </a:r>
          </a:p>
          <a:p>
            <a:r>
              <a:rPr lang="ru-RU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ильм № 2 «Подмена» 2008 года</a:t>
            </a:r>
          </a:p>
          <a:p>
            <a:r>
              <a:rPr lang="ru-RU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ильм № 3 «Джой» 2015 года</a:t>
            </a:r>
          </a:p>
          <a:p>
            <a:r>
              <a:rPr lang="ru-RU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ильм № 4 «Скрытые фигуры» 2016 года</a:t>
            </a:r>
          </a:p>
          <a:p>
            <a:r>
              <a:rPr lang="ru-RU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ильм № 5 «Жена» 2017 года</a:t>
            </a:r>
          </a:p>
          <a:p>
            <a:endParaRPr lang="ru-RU" sz="2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7042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ED2B92-C2FA-9348-B429-2A52066D3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C0ABE47-CC6C-4C4C-8DC9-385AEE434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B94682E-8963-D448-8B96-84BE98A2E6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63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Овал 5">
            <a:extLst>
              <a:ext uri="{FF2B5EF4-FFF2-40B4-BE49-F238E27FC236}">
                <a16:creationId xmlns:a16="http://schemas.microsoft.com/office/drawing/2014/main" id="{96BCD599-32B5-0A4A-BCAB-CC5CAE4D0522}"/>
              </a:ext>
            </a:extLst>
          </p:cNvPr>
          <p:cNvSpPr/>
          <p:nvPr/>
        </p:nvSpPr>
        <p:spPr>
          <a:xfrm>
            <a:off x="3756000" y="1166192"/>
            <a:ext cx="4680000" cy="4680000"/>
          </a:xfrm>
          <a:prstGeom prst="ellipse">
            <a:avLst/>
          </a:prstGeom>
          <a:solidFill>
            <a:schemeClr val="bg1">
              <a:alpha val="6474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6098457A-5AA6-B545-A7DA-DBF591F82C11}"/>
              </a:ext>
            </a:extLst>
          </p:cNvPr>
          <p:cNvSpPr txBox="1">
            <a:spLocks/>
          </p:cNvSpPr>
          <p:nvPr/>
        </p:nvSpPr>
        <p:spPr>
          <a:xfrm>
            <a:off x="3869635" y="2624484"/>
            <a:ext cx="4626903" cy="1657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</a:t>
            </a:r>
          </a:p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работу! </a:t>
            </a:r>
          </a:p>
        </p:txBody>
      </p:sp>
    </p:spTree>
    <p:extLst>
      <p:ext uri="{BB962C8B-B14F-4D97-AF65-F5344CB8AC3E}">
        <p14:creationId xmlns:p14="http://schemas.microsoft.com/office/powerpoint/2010/main" val="3162751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CEA5107-04C4-FF4A-8AB2-4BBC4CF348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488" b="18453"/>
          <a:stretch/>
        </p:blipFill>
        <p:spPr>
          <a:xfrm>
            <a:off x="1205948" y="1156252"/>
            <a:ext cx="10147852" cy="5466163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25DDBAC-5698-5E43-894E-A35D87F1C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399" y="365125"/>
            <a:ext cx="10515600" cy="1044575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</a:pPr>
            <a:r>
              <a:rPr lang="ru-RU" sz="36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ЕКТОРИЯ ПОЛЁТА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F7EA0266-114D-C848-AD1E-B644E38BEAFF}"/>
              </a:ext>
            </a:extLst>
          </p:cNvPr>
          <p:cNvSpPr txBox="1">
            <a:spLocks/>
          </p:cNvSpPr>
          <p:nvPr/>
        </p:nvSpPr>
        <p:spPr>
          <a:xfrm>
            <a:off x="2240611" y="4317356"/>
            <a:ext cx="2230163" cy="104457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Что такое турбулентность, и как она влияет на человека? 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13AA679B-083F-0E4A-80E2-64E1C44E430D}"/>
              </a:ext>
            </a:extLst>
          </p:cNvPr>
          <p:cNvSpPr txBox="1">
            <a:spLocks/>
          </p:cNvSpPr>
          <p:nvPr/>
        </p:nvSpPr>
        <p:spPr>
          <a:xfrm>
            <a:off x="4716222" y="3478944"/>
            <a:ext cx="1932552" cy="11779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Как быть лидером в турбулентное время? </a:t>
            </a:r>
            <a:endParaRPr lang="ru-RU" sz="14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FBCA9B81-EF5D-2247-9BE8-A067528C9481}"/>
              </a:ext>
            </a:extLst>
          </p:cNvPr>
          <p:cNvSpPr txBox="1">
            <a:spLocks/>
          </p:cNvSpPr>
          <p:nvPr/>
        </p:nvSpPr>
        <p:spPr>
          <a:xfrm>
            <a:off x="6279874" y="4839643"/>
            <a:ext cx="2230162" cy="6819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Осознать собственную значимость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4005C37E-3D5A-C648-8180-CDA683645F67}"/>
              </a:ext>
            </a:extLst>
          </p:cNvPr>
          <p:cNvSpPr txBox="1">
            <a:spLocks/>
          </p:cNvSpPr>
          <p:nvPr/>
        </p:nvSpPr>
        <p:spPr>
          <a:xfrm>
            <a:off x="7141420" y="5745470"/>
            <a:ext cx="3725413" cy="80506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Сформировать </a:t>
            </a:r>
            <a:r>
              <a:rPr lang="ru-RU" sz="1600" b="1" i="1" dirty="0">
                <a:solidFill>
                  <a:schemeClr val="tx2">
                    <a:lumMod val="50000"/>
                  </a:schemeClr>
                </a:solidFill>
              </a:rPr>
              <a:t>здоровое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  восприятие происходящих событий</a:t>
            </a: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910474AE-7C6D-914C-A16D-4A7F7984BF10}"/>
              </a:ext>
            </a:extLst>
          </p:cNvPr>
          <p:cNvSpPr txBox="1">
            <a:spLocks/>
          </p:cNvSpPr>
          <p:nvPr/>
        </p:nvSpPr>
        <p:spPr>
          <a:xfrm>
            <a:off x="8348999" y="4575316"/>
            <a:ext cx="2230163" cy="80506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Вернуть ясность и контроль над ситуацией 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E6ECA250-E701-2846-90E7-C28877B01C44}"/>
              </a:ext>
            </a:extLst>
          </p:cNvPr>
          <p:cNvSpPr txBox="1">
            <a:spLocks/>
          </p:cNvSpPr>
          <p:nvPr/>
        </p:nvSpPr>
        <p:spPr>
          <a:xfrm>
            <a:off x="8089253" y="3365839"/>
            <a:ext cx="2537882" cy="75857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Поддерживать доверительные отношения с людьми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B2519BB7-8666-0340-AC8B-0E53E5A0B804}"/>
              </a:ext>
            </a:extLst>
          </p:cNvPr>
          <p:cNvSpPr txBox="1">
            <a:spLocks/>
          </p:cNvSpPr>
          <p:nvPr/>
        </p:nvSpPr>
        <p:spPr>
          <a:xfrm>
            <a:off x="9092667" y="2528217"/>
            <a:ext cx="2230163" cy="8050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>
                <a:solidFill>
                  <a:schemeClr val="tx2">
                    <a:lumMod val="50000"/>
                  </a:schemeClr>
                </a:solidFill>
              </a:rPr>
              <a:t>Эффект бабочки</a:t>
            </a:r>
          </a:p>
        </p:txBody>
      </p:sp>
      <p:pic>
        <p:nvPicPr>
          <p:cNvPr id="19" name="Рисунок 18" descr="Изображение выглядит как небо, природа, темный, облака&#10;&#10;Автоматически созданное описание">
            <a:extLst>
              <a:ext uri="{FF2B5EF4-FFF2-40B4-BE49-F238E27FC236}">
                <a16:creationId xmlns:a16="http://schemas.microsoft.com/office/drawing/2014/main" id="{F7F4C66B-556B-A149-9B7D-783C371350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35000"/>
          </a:blip>
          <a:srcRect t="7771" b="777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402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6CF535-EEBA-DE44-824E-17AE5F521772}"/>
              </a:ext>
            </a:extLst>
          </p:cNvPr>
          <p:cNvGrpSpPr/>
          <p:nvPr/>
        </p:nvGrpSpPr>
        <p:grpSpPr>
          <a:xfrm>
            <a:off x="2341" y="-2381"/>
            <a:ext cx="12187318" cy="6858000"/>
            <a:chOff x="2341" y="-2381"/>
            <a:chExt cx="12187318" cy="6858000"/>
          </a:xfrm>
          <a:solidFill>
            <a:schemeClr val="accent1"/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48E3159-EF65-EF4C-B8ED-0841B6A56999}"/>
                </a:ext>
              </a:extLst>
            </p:cNvPr>
            <p:cNvSpPr/>
            <p:nvPr/>
          </p:nvSpPr>
          <p:spPr>
            <a:xfrm>
              <a:off x="10684709" y="-2381"/>
              <a:ext cx="150495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4BC5E88-0319-374A-9EBD-60C4E4240650}"/>
                </a:ext>
              </a:extLst>
            </p:cNvPr>
            <p:cNvSpPr/>
            <p:nvPr/>
          </p:nvSpPr>
          <p:spPr>
            <a:xfrm>
              <a:off x="2341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4A65DEF-9321-2549-A7C8-B0F9DDBF88B2}"/>
                </a:ext>
              </a:extLst>
            </p:cNvPr>
            <p:cNvSpPr/>
            <p:nvPr/>
          </p:nvSpPr>
          <p:spPr>
            <a:xfrm>
              <a:off x="267833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DC161D7-F349-2444-9A6E-1D09C6F5B425}"/>
                </a:ext>
              </a:extLst>
            </p:cNvPr>
            <p:cNvSpPr/>
            <p:nvPr/>
          </p:nvSpPr>
          <p:spPr>
            <a:xfrm>
              <a:off x="521895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8052" y="509015"/>
            <a:ext cx="10171833" cy="1363328"/>
          </a:xfrm>
        </p:spPr>
        <p:txBody>
          <a:bodyPr anchor="ctr">
            <a:no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ТАКОЕ ТУРБУЛЕНТНОСТЬ В ПОЛЁТЕ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7EE28E8-587E-E449-BFE6-CCEE68E86EC5}"/>
              </a:ext>
            </a:extLst>
          </p:cNvPr>
          <p:cNvSpPr txBox="1">
            <a:spLocks/>
          </p:cNvSpPr>
          <p:nvPr/>
        </p:nvSpPr>
        <p:spPr>
          <a:xfrm>
            <a:off x="1062678" y="2671844"/>
            <a:ext cx="9277103" cy="2313814"/>
          </a:xfr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  <a:buFont typeface="Системный шрифт, обычный"/>
              <a:buChar char="–"/>
            </a:pP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урбулентность - это физическое явление. Постоянные изменения давления, температуры, направления и скорости ветра. Образуются неоднородные воздушные массы. </a:t>
            </a:r>
          </a:p>
          <a:p>
            <a:pPr defTabSz="1219170">
              <a:spcBef>
                <a:spcPts val="1333"/>
              </a:spcBef>
              <a:buFont typeface="Системный шрифт, обычный"/>
              <a:buChar char="–"/>
            </a:pPr>
            <a:r>
              <a:rPr lang="ru-RU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</a:t>
            </a: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рбулентность в полете – </a:t>
            </a:r>
            <a:r>
              <a:rPr lang="ru-RU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стественный</a:t>
            </a: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</a:t>
            </a: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Через нее на разных этапах полета проходят 87–90% из всех совершающихся авиарейсов.</a:t>
            </a:r>
            <a:r>
              <a:rPr lang="ru-RU" sz="2400" dirty="0">
                <a:effectLst/>
              </a:rPr>
              <a:t> </a:t>
            </a:r>
            <a:endParaRPr lang="en-US" sz="2400" dirty="0">
              <a:solidFill>
                <a:srgbClr val="3232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04792" indent="-304792" defTabSz="1219170">
              <a:spcBef>
                <a:spcPts val="1333"/>
              </a:spcBef>
            </a:pPr>
            <a:endParaRPr lang="en-GB" sz="2400" dirty="0">
              <a:solidFill>
                <a:srgbClr val="3232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5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6CF535-EEBA-DE44-824E-17AE5F521772}"/>
              </a:ext>
            </a:extLst>
          </p:cNvPr>
          <p:cNvGrpSpPr/>
          <p:nvPr/>
        </p:nvGrpSpPr>
        <p:grpSpPr>
          <a:xfrm>
            <a:off x="2341" y="-2381"/>
            <a:ext cx="12187318" cy="6858000"/>
            <a:chOff x="2341" y="-2381"/>
            <a:chExt cx="12187318" cy="6858000"/>
          </a:xfrm>
          <a:solidFill>
            <a:schemeClr val="accent1"/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48E3159-EF65-EF4C-B8ED-0841B6A56999}"/>
                </a:ext>
              </a:extLst>
            </p:cNvPr>
            <p:cNvSpPr/>
            <p:nvPr/>
          </p:nvSpPr>
          <p:spPr>
            <a:xfrm>
              <a:off x="10684709" y="-2381"/>
              <a:ext cx="150495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4BC5E88-0319-374A-9EBD-60C4E4240650}"/>
                </a:ext>
              </a:extLst>
            </p:cNvPr>
            <p:cNvSpPr/>
            <p:nvPr/>
          </p:nvSpPr>
          <p:spPr>
            <a:xfrm>
              <a:off x="2341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4A65DEF-9321-2549-A7C8-B0F9DDBF88B2}"/>
                </a:ext>
              </a:extLst>
            </p:cNvPr>
            <p:cNvSpPr/>
            <p:nvPr/>
          </p:nvSpPr>
          <p:spPr>
            <a:xfrm>
              <a:off x="267833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DC161D7-F349-2444-9A6E-1D09C6F5B425}"/>
                </a:ext>
              </a:extLst>
            </p:cNvPr>
            <p:cNvSpPr/>
            <p:nvPr/>
          </p:nvSpPr>
          <p:spPr>
            <a:xfrm>
              <a:off x="521895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8052" y="509015"/>
            <a:ext cx="10171833" cy="1363328"/>
          </a:xfrm>
        </p:spPr>
        <p:txBody>
          <a:bodyPr anchor="ctr">
            <a:no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ТАКОЕ ТУРБУЛЕНТНОСТЬ В ЖИЗНИ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7EE28E8-587E-E449-BFE6-CCEE68E86EC5}"/>
              </a:ext>
            </a:extLst>
          </p:cNvPr>
          <p:cNvSpPr txBox="1">
            <a:spLocks/>
          </p:cNvSpPr>
          <p:nvPr/>
        </p:nvSpPr>
        <p:spPr>
          <a:xfrm>
            <a:off x="983242" y="2657485"/>
            <a:ext cx="9277103" cy="2313814"/>
          </a:xfr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  <a:buFont typeface="Системный шрифт, обычный"/>
              <a:buChar char="–"/>
            </a:pP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то </a:t>
            </a:r>
            <a:r>
              <a:rPr lang="ru-RU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тоянные изменения</a:t>
            </a: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о внешней среде (в экономике, политике, социуме, природе и т.п.) порой </a:t>
            </a:r>
            <a:r>
              <a:rPr lang="ru-RU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предсказуемые</a:t>
            </a:r>
            <a:r>
              <a:rPr lang="ru-RU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ля большинства людей </a:t>
            </a:r>
          </a:p>
          <a:p>
            <a:pPr defTabSz="1219170">
              <a:spcBef>
                <a:spcPts val="1333"/>
              </a:spcBef>
              <a:buFont typeface="Системный шрифт, обычный"/>
              <a:buChar char="–"/>
            </a:pPr>
            <a:r>
              <a:rPr lang="ru-RU" sz="2400" dirty="0">
                <a:latin typeface="Calibri" panose="020F0502020204030204" pitchFamily="34" charset="0"/>
                <a:cs typeface="Times New Roman" panose="02020603050405020304" pitchFamily="18" charset="0"/>
              </a:rPr>
              <a:t>турбулентность стала </a:t>
            </a:r>
            <a:r>
              <a:rPr lang="ru-RU" sz="2400" b="1" dirty="0">
                <a:latin typeface="Calibri" panose="020F0502020204030204" pitchFamily="34" charset="0"/>
                <a:cs typeface="Times New Roman" panose="02020603050405020304" pitchFamily="18" charset="0"/>
              </a:rPr>
              <a:t>естественным</a:t>
            </a:r>
            <a:r>
              <a:rPr lang="ru-RU" sz="24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latin typeface="Calibri" panose="020F0502020204030204" pitchFamily="34" charset="0"/>
                <a:cs typeface="Times New Roman" panose="02020603050405020304" pitchFamily="18" charset="0"/>
              </a:rPr>
              <a:t>процессом</a:t>
            </a:r>
            <a:r>
              <a:rPr lang="ru-RU" sz="2400" dirty="0">
                <a:latin typeface="Calibri" panose="020F0502020204030204" pitchFamily="34" charset="0"/>
                <a:cs typeface="Times New Roman" panose="02020603050405020304" pitchFamily="18" charset="0"/>
              </a:rPr>
              <a:t> за последние годы</a:t>
            </a:r>
          </a:p>
          <a:p>
            <a:pPr defTabSz="1219170">
              <a:spcBef>
                <a:spcPts val="1333"/>
              </a:spcBef>
              <a:buFont typeface="Системный шрифт, обычный"/>
              <a:buChar char="–"/>
            </a:pPr>
            <a:r>
              <a:rPr lang="ru-RU" sz="2400" dirty="0">
                <a:solidFill>
                  <a:srgbClr val="32323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турбулентность – вызов двум базовым потребностям человека: </a:t>
            </a:r>
            <a:r>
              <a:rPr lang="ru-RU" sz="2400" b="1" dirty="0">
                <a:solidFill>
                  <a:srgbClr val="32323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требность в ясности и контроле </a:t>
            </a:r>
            <a:endParaRPr lang="en-GB" sz="2400" b="1" dirty="0">
              <a:solidFill>
                <a:srgbClr val="32323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C94FC4-884E-CCC0-8F9A-F587B15DEC74}"/>
              </a:ext>
            </a:extLst>
          </p:cNvPr>
          <p:cNvSpPr txBox="1"/>
          <p:nvPr/>
        </p:nvSpPr>
        <p:spPr>
          <a:xfrm>
            <a:off x="888052" y="5571775"/>
            <a:ext cx="90354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Времена не выбирают... нужно жить в любую эпоху. Правильно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1639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6CF535-EEBA-DE44-824E-17AE5F521772}"/>
              </a:ext>
            </a:extLst>
          </p:cNvPr>
          <p:cNvGrpSpPr/>
          <p:nvPr/>
        </p:nvGrpSpPr>
        <p:grpSpPr>
          <a:xfrm>
            <a:off x="2341" y="-2381"/>
            <a:ext cx="12187318" cy="6858000"/>
            <a:chOff x="2341" y="-2381"/>
            <a:chExt cx="12187318" cy="6858000"/>
          </a:xfrm>
          <a:solidFill>
            <a:schemeClr val="accent1"/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48E3159-EF65-EF4C-B8ED-0841B6A56999}"/>
                </a:ext>
              </a:extLst>
            </p:cNvPr>
            <p:cNvSpPr/>
            <p:nvPr/>
          </p:nvSpPr>
          <p:spPr>
            <a:xfrm>
              <a:off x="10684709" y="-2381"/>
              <a:ext cx="150495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4BC5E88-0319-374A-9EBD-60C4E4240650}"/>
                </a:ext>
              </a:extLst>
            </p:cNvPr>
            <p:cNvSpPr/>
            <p:nvPr/>
          </p:nvSpPr>
          <p:spPr>
            <a:xfrm>
              <a:off x="2341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4A65DEF-9321-2549-A7C8-B0F9DDBF88B2}"/>
                </a:ext>
              </a:extLst>
            </p:cNvPr>
            <p:cNvSpPr/>
            <p:nvPr/>
          </p:nvSpPr>
          <p:spPr>
            <a:xfrm>
              <a:off x="267833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DC161D7-F349-2444-9A6E-1D09C6F5B425}"/>
                </a:ext>
              </a:extLst>
            </p:cNvPr>
            <p:cNvSpPr/>
            <p:nvPr/>
          </p:nvSpPr>
          <p:spPr>
            <a:xfrm>
              <a:off x="521895" y="3141663"/>
              <a:ext cx="195855" cy="6734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4D847-6BC2-754F-902C-846237BB4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8052" y="509015"/>
            <a:ext cx="10171833" cy="1363328"/>
          </a:xfrm>
        </p:spPr>
        <p:txBody>
          <a:bodyPr anchor="ctr">
            <a:no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ВРЕМЕННЫЙ МИР</a:t>
            </a:r>
          </a:p>
        </p:txBody>
      </p:sp>
      <p:pic>
        <p:nvPicPr>
          <p:cNvPr id="3" name="object 45">
            <a:extLst>
              <a:ext uri="{FF2B5EF4-FFF2-40B4-BE49-F238E27FC236}">
                <a16:creationId xmlns:a16="http://schemas.microsoft.com/office/drawing/2014/main" id="{4A3F9479-7A16-7109-EE2D-C11AAF4ED5B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1196871" y="3067824"/>
            <a:ext cx="3541986" cy="1850909"/>
          </a:xfrm>
          <a:prstGeom prst="rect">
            <a:avLst/>
          </a:prstGeom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CD142A-874F-E0FB-E624-C6EC4C22CEF5}"/>
              </a:ext>
            </a:extLst>
          </p:cNvPr>
          <p:cNvSpPr txBox="1">
            <a:spLocks/>
          </p:cNvSpPr>
          <p:nvPr/>
        </p:nvSpPr>
        <p:spPr bwMode="gray">
          <a:xfrm>
            <a:off x="4528087" y="2222285"/>
            <a:ext cx="4690864" cy="3541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lang="de-DE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rgbClr val="E61E50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685800">
              <a:spcBef>
                <a:spcPts val="450"/>
              </a:spcBef>
              <a:spcAft>
                <a:spcPts val="225"/>
              </a:spcAft>
              <a:defRPr/>
            </a:pPr>
            <a:r>
              <a:rPr lang="ru-RU" sz="2800" dirty="0"/>
              <a:t>ИЗМЕНЧИВЫЙ </a:t>
            </a:r>
            <a:endParaRPr lang="en-US" sz="2800" dirty="0"/>
          </a:p>
          <a:p>
            <a:pPr defTabSz="685800">
              <a:spcBef>
                <a:spcPts val="450"/>
              </a:spcBef>
              <a:spcAft>
                <a:spcPts val="225"/>
              </a:spcAft>
              <a:defRPr/>
            </a:pPr>
            <a:endParaRPr lang="en-US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endParaRPr lang="ru-RU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r>
              <a:rPr lang="ru-RU" sz="2800" dirty="0"/>
              <a:t>НЕПРЕДСКАЗУЕМЫЙ </a:t>
            </a:r>
            <a:endParaRPr lang="en-US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endParaRPr lang="en-US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endParaRPr lang="ru-RU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r>
              <a:rPr lang="ru-RU" sz="2800" dirty="0"/>
              <a:t>ТРЕВОЖНЫЙ </a:t>
            </a:r>
            <a:endParaRPr lang="en-US" sz="2800" dirty="0"/>
          </a:p>
          <a:p>
            <a:pPr marL="0" lvl="1" indent="0" defTabSz="685800">
              <a:spcBef>
                <a:spcPts val="225"/>
              </a:spcBef>
              <a:spcAft>
                <a:spcPts val="225"/>
              </a:spcAft>
              <a:buClr>
                <a:srgbClr val="503291"/>
              </a:buClr>
              <a:buNone/>
              <a:defRPr/>
            </a:pPr>
            <a:endParaRPr lang="en-US" sz="2800" dirty="0"/>
          </a:p>
          <a:p>
            <a:pPr defTabSz="685800">
              <a:spcBef>
                <a:spcPts val="450"/>
              </a:spcBef>
              <a:spcAft>
                <a:spcPts val="225"/>
              </a:spcAft>
              <a:defRPr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49596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10684709" y="-2381"/>
            <a:ext cx="150495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Текст 2">
            <a:extLst>
              <a:ext uri="{FF2B5EF4-FFF2-40B4-BE49-F238E27FC236}">
                <a16:creationId xmlns:a16="http://schemas.microsoft.com/office/drawing/2014/main" id="{DD4474D0-34A5-944A-BB3F-E83E8693616D}"/>
              </a:ext>
            </a:extLst>
          </p:cNvPr>
          <p:cNvSpPr txBox="1">
            <a:spLocks/>
          </p:cNvSpPr>
          <p:nvPr/>
        </p:nvSpPr>
        <p:spPr>
          <a:xfrm>
            <a:off x="463688" y="2574336"/>
            <a:ext cx="9593924" cy="266400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609555" rtl="0" eaLnBrk="1" latinLnBrk="0" hangingPunct="1">
              <a:spcBef>
                <a:spcPts val="2133"/>
              </a:spcBef>
              <a:buFontTx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5976" indent="-335976" algn="l" defTabSz="609555" rtl="0" eaLnBrk="1" latinLnBrk="0" hangingPunct="1"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1950" indent="-335976" algn="l" defTabSz="609555" rtl="0" eaLnBrk="1" latinLnBrk="0" hangingPunct="1">
              <a:spcBef>
                <a:spcPts val="1200"/>
              </a:spcBef>
              <a:buClr>
                <a:srgbClr val="7030A0"/>
              </a:buClr>
              <a:buSzPct val="120000"/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28" indent="-335976" algn="l" defTabSz="609555" rtl="0" eaLnBrk="1" latinLnBrk="0" hangingPunct="1">
              <a:spcBef>
                <a:spcPts val="1200"/>
              </a:spcBef>
              <a:buClr>
                <a:srgbClr val="7030A0"/>
              </a:buClr>
              <a:buSzPct val="120000"/>
              <a:buFont typeface="Arial" panose="020B0604020202020204" pitchFamily="34" charset="0"/>
              <a:buChar char="̶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09555" rtl="0" eaLnBrk="1" latinLnBrk="0" hangingPunct="1">
              <a:spcBef>
                <a:spcPts val="1200"/>
              </a:spcBef>
              <a:buSzPct val="100000"/>
              <a:buFont typeface="Arial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548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104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658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212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1. Созидатель</a:t>
            </a:r>
          </a:p>
          <a:p>
            <a:pPr marL="0" indent="0">
              <a:buFontTx/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2. Психологически устойчивая личность </a:t>
            </a:r>
          </a:p>
          <a:p>
            <a:pPr marL="0" indent="0">
              <a:buFontTx/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3. Человек, который служит своим ценностям вне зависимости от условий окружающей среды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7EA5566-9F59-F22A-615C-263176DEA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88" y="493710"/>
            <a:ext cx="10221021" cy="1363328"/>
          </a:xfrm>
        </p:spPr>
        <p:txBody>
          <a:bodyPr anchor="ctr">
            <a:no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ЛИДЕР В ТУРБУЛЕТНОЕ ВРЕМЯ – ЭТО  </a:t>
            </a:r>
          </a:p>
        </p:txBody>
      </p:sp>
    </p:spTree>
    <p:extLst>
      <p:ext uri="{BB962C8B-B14F-4D97-AF65-F5344CB8AC3E}">
        <p14:creationId xmlns:p14="http://schemas.microsoft.com/office/powerpoint/2010/main" val="4285533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48E3159-EF65-EF4C-B8ED-0841B6A56999}"/>
              </a:ext>
            </a:extLst>
          </p:cNvPr>
          <p:cNvSpPr/>
          <p:nvPr/>
        </p:nvSpPr>
        <p:spPr>
          <a:xfrm>
            <a:off x="24057" y="6535711"/>
            <a:ext cx="12167943" cy="322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DC161D7-F349-2444-9A6E-1D09C6F5B425}"/>
              </a:ext>
            </a:extLst>
          </p:cNvPr>
          <p:cNvSpPr/>
          <p:nvPr/>
        </p:nvSpPr>
        <p:spPr>
          <a:xfrm>
            <a:off x="11993804" y="702903"/>
            <a:ext cx="195855" cy="67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9BD6ACC-9739-9E45-A2E5-5535FB57A19F}"/>
              </a:ext>
            </a:extLst>
          </p:cNvPr>
          <p:cNvGrpSpPr/>
          <p:nvPr/>
        </p:nvGrpSpPr>
        <p:grpSpPr>
          <a:xfrm>
            <a:off x="496357" y="793182"/>
            <a:ext cx="11079363" cy="5154013"/>
            <a:chOff x="53065" y="847824"/>
            <a:chExt cx="10819534" cy="5033139"/>
          </a:xfrm>
        </p:grpSpPr>
        <p:pic>
          <p:nvPicPr>
            <p:cNvPr id="9" name="object 4">
              <a:extLst>
                <a:ext uri="{FF2B5EF4-FFF2-40B4-BE49-F238E27FC236}">
                  <a16:creationId xmlns:a16="http://schemas.microsoft.com/office/drawing/2014/main" id="{E226E541-C377-A844-B388-E8EDCBA8CA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48733" y="1266102"/>
              <a:ext cx="5917003" cy="4614861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91200F77-6CFB-034D-AFDB-3B52FE461A42}"/>
                </a:ext>
              </a:extLst>
            </p:cNvPr>
            <p:cNvGrpSpPr/>
            <p:nvPr/>
          </p:nvGrpSpPr>
          <p:grpSpPr>
            <a:xfrm>
              <a:off x="53065" y="847824"/>
              <a:ext cx="10819534" cy="3855730"/>
              <a:chOff x="53065" y="847824"/>
              <a:chExt cx="10819534" cy="3855730"/>
            </a:xfrm>
          </p:grpSpPr>
          <p:sp>
            <p:nvSpPr>
              <p:cNvPr id="11" name="Title 1">
                <a:extLst>
                  <a:ext uri="{FF2B5EF4-FFF2-40B4-BE49-F238E27FC236}">
                    <a16:creationId xmlns:a16="http://schemas.microsoft.com/office/drawing/2014/main" id="{9669EB54-DD8F-D549-A566-216147B257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32714" y="1498518"/>
                <a:ext cx="3749040" cy="262891"/>
              </a:xfrm>
              <a:prstGeom prst="rect">
                <a:avLst/>
              </a:prstGeom>
            </p:spPr>
            <p:txBody>
              <a:bodyPr anchor="t">
                <a:noAutofit/>
              </a:bodyPr>
              <a:lstStyle>
                <a:lvl1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1pPr>
                <a:lvl2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2pPr>
                <a:lvl3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3pPr>
                <a:lvl4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4pPr>
                <a:lvl5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5pPr>
                <a:lvl6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6pPr>
                <a:lvl7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7pPr>
                <a:lvl8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8pPr>
                <a:lvl9pPr marL="0" marR="0" indent="0" algn="l" defTabSz="91440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200" b="1" i="0" u="none" strike="noStrike" cap="none" spc="0" baseline="0">
                    <a:ln>
                      <a:noFill/>
                    </a:ln>
                    <a:solidFill>
                      <a:schemeClr val="accent1"/>
                    </a:solidFill>
                    <a:uFillTx/>
                    <a:latin typeface="Verdana"/>
                    <a:ea typeface="Verdana"/>
                    <a:cs typeface="Verdana"/>
                    <a:sym typeface="Verdana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6861F"/>
                    </a:solidFill>
                    <a:effectLst/>
                    <a:uLnTx/>
                    <a:uFillTx/>
                    <a:latin typeface="Verdana"/>
                    <a:ea typeface="Verdana"/>
                    <a:cs typeface="Verdana"/>
                    <a:sym typeface="Verdana"/>
                  </a:rPr>
                  <a:t>ЛИДЕРСТВО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6861F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6" name="object 17">
                <a:extLst>
                  <a:ext uri="{FF2B5EF4-FFF2-40B4-BE49-F238E27FC236}">
                    <a16:creationId xmlns:a16="http://schemas.microsoft.com/office/drawing/2014/main" id="{9B176810-B2CD-3C44-A0F7-3A50F8E65C03}"/>
                  </a:ext>
                </a:extLst>
              </p:cNvPr>
              <p:cNvSpPr txBox="1"/>
              <p:nvPr/>
            </p:nvSpPr>
            <p:spPr>
              <a:xfrm>
                <a:off x="7729763" y="1266102"/>
                <a:ext cx="3142836" cy="82403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pc="-25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</a:t>
                </a:r>
                <a:r>
                  <a:rPr kumimoji="0" lang="ru-RU" i="0" u="none" strike="noStrike" kern="1200" cap="none" spc="-25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формировать здоровое восприятие происходящих событий</a:t>
                </a:r>
                <a:endParaRPr kumimoji="0" lang="en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object 18">
                <a:extLst>
                  <a:ext uri="{FF2B5EF4-FFF2-40B4-BE49-F238E27FC236}">
                    <a16:creationId xmlns:a16="http://schemas.microsoft.com/office/drawing/2014/main" id="{88C8D730-9D7C-944D-84DA-9A5426A659FA}"/>
                  </a:ext>
                </a:extLst>
              </p:cNvPr>
              <p:cNvSpPr txBox="1"/>
              <p:nvPr/>
            </p:nvSpPr>
            <p:spPr>
              <a:xfrm>
                <a:off x="7729763" y="3567507"/>
                <a:ext cx="2937659" cy="826411"/>
              </a:xfrm>
              <a:prstGeom prst="rect">
                <a:avLst/>
              </a:prstGeom>
            </p:spPr>
            <p:txBody>
              <a:bodyPr vert="horz" wrap="square" lIns="0" tIns="11431" rIns="0" bIns="0" rtlCol="0">
                <a:spAutoFit/>
              </a:bodyPr>
              <a:lstStyle/>
              <a:p>
                <a:pPr marL="12700" marR="5080" indent="17145" defTabSz="1219170">
                  <a:lnSpc>
                    <a:spcPct val="100899"/>
                  </a:lnSpc>
                  <a:spcBef>
                    <a:spcPts val="91"/>
                  </a:spcBef>
                  <a:defRPr/>
                </a:pPr>
                <a:r>
                  <a:rPr lang="ru-RU" spc="-5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сознать собственную значимость </a:t>
                </a:r>
              </a:p>
              <a:p>
                <a:pPr marL="12700" marR="5080" lvl="0" indent="17145" algn="l" defTabSz="1219170" rtl="0" eaLnBrk="1" fontAlgn="auto" latinLnBrk="0" hangingPunct="1">
                  <a:lnSpc>
                    <a:spcPct val="100899"/>
                  </a:lnSpc>
                  <a:spcBef>
                    <a:spcPts val="9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b="1" i="0" u="none" strike="noStrike" kern="1200" cap="none" spc="-5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  <a:endParaRPr kumimoji="0" lang="en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object 19">
                <a:extLst>
                  <a:ext uri="{FF2B5EF4-FFF2-40B4-BE49-F238E27FC236}">
                    <a16:creationId xmlns:a16="http://schemas.microsoft.com/office/drawing/2014/main" id="{90A5B0DE-23AD-564D-87F6-894C4E0B1881}"/>
                  </a:ext>
                </a:extLst>
              </p:cNvPr>
              <p:cNvSpPr txBox="1"/>
              <p:nvPr/>
            </p:nvSpPr>
            <p:spPr>
              <a:xfrm>
                <a:off x="53065" y="847824"/>
                <a:ext cx="2937659" cy="83655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marL="1270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pc="-5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ернуть ясность и контроль над ситуацией  </a:t>
                </a:r>
                <a:endParaRPr lang="en" spc="-5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object 20">
                <a:extLst>
                  <a:ext uri="{FF2B5EF4-FFF2-40B4-BE49-F238E27FC236}">
                    <a16:creationId xmlns:a16="http://schemas.microsoft.com/office/drawing/2014/main" id="{0591D366-0C43-254F-BCD5-40383AC9BD2B}"/>
                  </a:ext>
                </a:extLst>
              </p:cNvPr>
              <p:cNvSpPr txBox="1"/>
              <p:nvPr/>
            </p:nvSpPr>
            <p:spPr>
              <a:xfrm>
                <a:off x="67635" y="3313471"/>
                <a:ext cx="2937659" cy="139008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algn="r" defTabSz="1219170">
                  <a:spcBef>
                    <a:spcPts val="100"/>
                  </a:spcBef>
                </a:pPr>
                <a:r>
                  <a:rPr kumimoji="0" lang="ru-RU" b="1" i="0" u="none" strike="noStrike" kern="1200" cap="none" spc="-5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b="1" spc="-5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marL="12700" algn="r" defTabSz="1219170">
                  <a:spcBef>
                    <a:spcPts val="100"/>
                  </a:spcBef>
                </a:pPr>
                <a:r>
                  <a:rPr lang="ru-RU" spc="-5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ддерживать доверительные отношения  с людьми</a:t>
                </a:r>
              </a:p>
              <a:p>
                <a:pPr marL="12700" defTabSz="1219170">
                  <a:spcBef>
                    <a:spcPts val="100"/>
                  </a:spcBef>
                </a:pPr>
                <a:endParaRPr kumimoji="0" lang="en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0" name="Объект 2">
            <a:extLst>
              <a:ext uri="{FF2B5EF4-FFF2-40B4-BE49-F238E27FC236}">
                <a16:creationId xmlns:a16="http://schemas.microsoft.com/office/drawing/2014/main" id="{2D7394D1-6B8A-7E4B-8B64-193DBFF00219}"/>
              </a:ext>
            </a:extLst>
          </p:cNvPr>
          <p:cNvSpPr txBox="1">
            <a:spLocks/>
          </p:cNvSpPr>
          <p:nvPr/>
        </p:nvSpPr>
        <p:spPr>
          <a:xfrm>
            <a:off x="293294" y="2278196"/>
            <a:ext cx="3839072" cy="1738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Действовать через «яркие» пятна</a:t>
            </a: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Искусство маленьких шагов </a:t>
            </a:r>
          </a:p>
          <a:p>
            <a:pPr marL="0" indent="0">
              <a:buNone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id="{E8574DF6-4F72-4F48-A275-F37E7E65C13A}"/>
              </a:ext>
            </a:extLst>
          </p:cNvPr>
          <p:cNvSpPr txBox="1">
            <a:spLocks/>
          </p:cNvSpPr>
          <p:nvPr/>
        </p:nvSpPr>
        <p:spPr>
          <a:xfrm>
            <a:off x="8244428" y="2401794"/>
            <a:ext cx="3926496" cy="74557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Определить круг влияния </a:t>
            </a:r>
            <a:r>
              <a:rPr lang="en-US" sz="1400" dirty="0">
                <a:solidFill>
                  <a:prstClr val="black"/>
                </a:solidFill>
                <a:latin typeface="Myriad Pro Light"/>
              </a:rPr>
              <a:t>/</a:t>
            </a:r>
            <a:r>
              <a:rPr lang="ru-RU" sz="1400" dirty="0">
                <a:solidFill>
                  <a:prstClr val="black"/>
                </a:solidFill>
                <a:latin typeface="Myriad Pro Light"/>
              </a:rPr>
              <a:t> круг беспокойств</a:t>
            </a: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Дистанцироваться перед принятием решения - </a:t>
            </a:r>
            <a:r>
              <a:rPr lang="en-US" sz="1400" dirty="0">
                <a:solidFill>
                  <a:prstClr val="black"/>
                </a:solidFill>
                <a:latin typeface="Myriad Pro Light"/>
              </a:rPr>
              <a:t>Zoom Out</a:t>
            </a:r>
          </a:p>
          <a:p>
            <a:pPr marL="0" indent="0">
              <a:buNone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  <a:p>
            <a:pPr>
              <a:buFont typeface="Системный шрифт, обычный"/>
              <a:buChar char="–"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id="{6D32A9EE-5DC8-6949-9509-ACDC9550F776}"/>
              </a:ext>
            </a:extLst>
          </p:cNvPr>
          <p:cNvSpPr txBox="1">
            <a:spLocks/>
          </p:cNvSpPr>
          <p:nvPr/>
        </p:nvSpPr>
        <p:spPr>
          <a:xfrm>
            <a:off x="280153" y="4717190"/>
            <a:ext cx="4097294" cy="816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Уметь благодарить</a:t>
            </a: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Уметь слышать людей: эмпатия</a:t>
            </a:r>
          </a:p>
          <a:p>
            <a:pPr>
              <a:buFont typeface="Системный шрифт, обычный"/>
              <a:buChar char="–"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  <a:p>
            <a:pPr>
              <a:buFont typeface="Системный шрифт, обычный"/>
              <a:buChar char="–"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12246A2C-F393-FB4C-88E4-829B554EC282}"/>
              </a:ext>
            </a:extLst>
          </p:cNvPr>
          <p:cNvSpPr txBox="1">
            <a:spLocks/>
          </p:cNvSpPr>
          <p:nvPr/>
        </p:nvSpPr>
        <p:spPr>
          <a:xfrm>
            <a:off x="8270362" y="4230702"/>
            <a:ext cx="3662562" cy="140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Системный шрифт, обычный"/>
              <a:buChar char="–"/>
            </a:pPr>
            <a:endParaRPr lang="ru-RU" sz="1400" dirty="0">
              <a:solidFill>
                <a:prstClr val="black"/>
              </a:solidFill>
              <a:latin typeface="Myriad Pro Light"/>
            </a:endParaRP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Знать свои ценности и действовать в соответствии с ценностями  </a:t>
            </a:r>
          </a:p>
          <a:p>
            <a:pPr>
              <a:buFont typeface="Системный шрифт, обычный"/>
              <a:buChar char="–"/>
            </a:pPr>
            <a:r>
              <a:rPr lang="ru-RU" sz="1400" dirty="0">
                <a:solidFill>
                  <a:prstClr val="black"/>
                </a:solidFill>
                <a:latin typeface="Myriad Pro Light"/>
              </a:rPr>
              <a:t>Управлять собственным мышлением  </a:t>
            </a:r>
          </a:p>
        </p:txBody>
      </p:sp>
    </p:spTree>
    <p:extLst>
      <p:ext uri="{BB962C8B-B14F-4D97-AF65-F5344CB8AC3E}">
        <p14:creationId xmlns:p14="http://schemas.microsoft.com/office/powerpoint/2010/main" val="3180465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MPORT" val="P:\MikeG\Engaging Customer Interactions 11-08\EngageCustInter52.mp3"/>
  <p:tag name="AUDIO_ID" val="597"/>
  <p:tag name="ARTICULATE_SLIDE_PAUSE" val="0"/>
  <p:tag name="ARTICULATE_NAV_LEVEL" val="1"/>
  <p:tag name="ARTICULATE_PLAYLIST_ID" val="-1"/>
  <p:tag name="ELAPSEDTIME" val="54.17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False"/>
  <p:tag name="MIO_NUMBER_OF_VALID_LAYOUTS" val="33"/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HDS" val="True"/>
  <p:tag name="MIO_EK" val="2503"/>
  <p:tag name="MIO_UPDATE" val="True"/>
  <p:tag name="MIO_VERSION" val="08.12.2015 12:08:24"/>
  <p:tag name="MIO_DBID" val="218709A9-2117-4AF1-A1EA-309C9A305E57"/>
  <p:tag name="MIO_LASTDOWNLOADED" val="08.12.2015 12:17:40"/>
  <p:tag name="MIO_OBJECTNAME" val="Merck Master EN 16_9"/>
  <p:tag name="MIO_LASTEDITORNAME" val="jankows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20181;42.37504;42.57677;56.75;"/>
  <p:tag name="VCT-BULLETVISIBILITY" val="G 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5 13:10:53"/>
  <p:tag name="VCTMASTER" val="Merck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е листы и разделы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63666A"/>
      </a:lt2>
      <a:accent1>
        <a:srgbClr val="00843D"/>
      </a:accent1>
      <a:accent2>
        <a:srgbClr val="00B050"/>
      </a:accent2>
      <a:accent3>
        <a:srgbClr val="5DD181"/>
      </a:accent3>
      <a:accent4>
        <a:srgbClr val="ADE8BF"/>
      </a:accent4>
      <a:accent5>
        <a:srgbClr val="FF6F61"/>
      </a:accent5>
      <a:accent6>
        <a:srgbClr val="00B2A9"/>
      </a:accent6>
      <a:hlink>
        <a:srgbClr val="0563C1"/>
      </a:hlink>
      <a:folHlink>
        <a:srgbClr val="954F72"/>
      </a:folHlink>
    </a:clrScheme>
    <a:fontScheme name="Другая 2">
      <a:majorFont>
        <a:latin typeface="Myriad Pro SemiCond"/>
        <a:ea typeface=""/>
        <a:cs typeface=""/>
      </a:majorFont>
      <a:minorFont>
        <a:latin typeface="Myriad Pr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 rtl="0" eaLnBrk="1" fontAlgn="auto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b="0" i="0" u="none" kern="0" baseline="0" dirty="0" smtClean="0">
            <a:solidFill>
              <a:srgbClr val="FFFFFF"/>
            </a:solidFill>
            <a:latin typeface="Verdana" panose="020B0604030504040204" pitchFamily="34" charset="0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.potx" id="{FB467393-8B94-419E-AF81-D1EA17226195}" vid="{F2586FAF-4ACA-465D-9B12-422222ACB892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19</TotalTime>
  <Words>2076</Words>
  <Application>Microsoft Macintosh PowerPoint</Application>
  <PresentationFormat>Широкоэкранный</PresentationFormat>
  <Paragraphs>306</Paragraphs>
  <Slides>34</Slides>
  <Notes>2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51" baseType="lpstr">
      <vt:lpstr>Системный шрифт, обычный</vt:lpstr>
      <vt:lpstr>Arial</vt:lpstr>
      <vt:lpstr>Calibri</vt:lpstr>
      <vt:lpstr>Calibri Light</vt:lpstr>
      <vt:lpstr>Century Gothic</vt:lpstr>
      <vt:lpstr>Franklin Gothic Book</vt:lpstr>
      <vt:lpstr>Helvetica</vt:lpstr>
      <vt:lpstr>Merck</vt:lpstr>
      <vt:lpstr>Myriad Pro Light</vt:lpstr>
      <vt:lpstr>Myriad Pro SemiCond</vt:lpstr>
      <vt:lpstr>Symbol</vt:lpstr>
      <vt:lpstr>Verdana</vt:lpstr>
      <vt:lpstr>Wingdings</vt:lpstr>
      <vt:lpstr>Тема Office</vt:lpstr>
      <vt:lpstr>Титульные листы и разделы</vt:lpstr>
      <vt:lpstr>Merck</vt:lpstr>
      <vt:lpstr>think-cell Folie</vt:lpstr>
      <vt:lpstr>ЛИДЕРСТВО В ТУРБУЛЕНТНОЕ ВРЕМЯ</vt:lpstr>
      <vt:lpstr>Презентация PowerPoint</vt:lpstr>
      <vt:lpstr>ЛИДЕР – ЛЮБОЙ ЧЕЛОВЕК </vt:lpstr>
      <vt:lpstr>ТРАЕКТОРИЯ ПОЛЁТА</vt:lpstr>
      <vt:lpstr>ЧТО ТАКОЕ ТУРБУЛЕНТНОСТЬ В ПОЛЁТЕ?</vt:lpstr>
      <vt:lpstr>ЧТО ТАКОЕ ТУРБУЛЕНТНОСТЬ В ЖИЗНИ?</vt:lpstr>
      <vt:lpstr>СОВРЕМЕННЫЙ МИР</vt:lpstr>
      <vt:lpstr>ЛИДЕР В ТУРБУЛЕТНОЕ ВРЕМЯ – ЭТО  </vt:lpstr>
      <vt:lpstr>Презентация PowerPoint</vt:lpstr>
      <vt:lpstr>ЦЕННОСТИ – ЭТО УНИКАЛЬНОСТЬ ЧЕЛОВЕКА</vt:lpstr>
      <vt:lpstr>ВИДЫ НЕКОНСТРУКТИВНОГО МЫШЛЕНИЯ </vt:lpstr>
      <vt:lpstr>ВИДЫ НЕКОНСТРУКТИВНОГО МЫШЛЕНИЯ </vt:lpstr>
      <vt:lpstr>БУДИЛЬНИК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ИСТАНЦИРОВАТЬСЯ ПЕРЕД ПРИНЯТИЕМ РЕШЕНИЯ</vt:lpstr>
      <vt:lpstr>КРУГ ВЛИЯНИЯ И КРУГ БЕСПОКОЙСТВА  </vt:lpstr>
      <vt:lpstr>Презентация PowerPoint</vt:lpstr>
      <vt:lpstr>«СДЕЛАТЬ БЛАГОДАРНОСТЬ СМЫСЛОМ СВОЕЙ ЖИЗНИ» Марина Карловна Мазина</vt:lpstr>
      <vt:lpstr>СИЛА БЛАГОДАРНОСТИ </vt:lpstr>
      <vt:lpstr>СИЛА БЛАГОДАРНОСТИ</vt:lpstr>
      <vt:lpstr>Презентация PowerPoint</vt:lpstr>
      <vt:lpstr>Презентация PowerPoint</vt:lpstr>
      <vt:lpstr>Презентация PowerPoint</vt:lpstr>
      <vt:lpstr>ЯСНОСТЬ И КОНТРОЛЬ</vt:lpstr>
      <vt:lpstr>Презентация PowerPoint</vt:lpstr>
      <vt:lpstr>ЭФФЕКТ БАБОЧКИ</vt:lpstr>
      <vt:lpstr>Презентация PowerPoint</vt:lpstr>
      <vt:lpstr>КНИГИ</vt:lpstr>
      <vt:lpstr>ФИЛЬМЫ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ДОХНОВЛЯЮЩЕЕ ЛИДЕРСТВО В ЭПОХУ ТУРБУЛЕНТНОСТИ </dc:title>
  <dc:creator>Лада Вечер</dc:creator>
  <cp:lastModifiedBy>2686</cp:lastModifiedBy>
  <cp:revision>156</cp:revision>
  <dcterms:created xsi:type="dcterms:W3CDTF">2022-03-29T15:38:19Z</dcterms:created>
  <dcterms:modified xsi:type="dcterms:W3CDTF">2023-03-12T09:44:20Z</dcterms:modified>
</cp:coreProperties>
</file>